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609" r:id="rId3"/>
    <p:sldId id="2603" r:id="rId4"/>
    <p:sldId id="2614" r:id="rId5"/>
    <p:sldId id="2632" r:id="rId6"/>
    <p:sldId id="2616" r:id="rId7"/>
    <p:sldId id="2617" r:id="rId8"/>
    <p:sldId id="2604" r:id="rId9"/>
    <p:sldId id="2647" r:id="rId10"/>
    <p:sldId id="2621" r:id="rId11"/>
    <p:sldId id="2618" r:id="rId12"/>
    <p:sldId id="2619" r:id="rId13"/>
    <p:sldId id="2642" r:id="rId14"/>
    <p:sldId id="2643" r:id="rId15"/>
    <p:sldId id="2644" r:id="rId16"/>
    <p:sldId id="2645" r:id="rId17"/>
    <p:sldId id="2622" r:id="rId18"/>
    <p:sldId id="2646" r:id="rId19"/>
    <p:sldId id="2624" r:id="rId20"/>
    <p:sldId id="2639" r:id="rId21"/>
    <p:sldId id="2638" r:id="rId22"/>
    <p:sldId id="2640" r:id="rId23"/>
    <p:sldId id="2637" r:id="rId24"/>
    <p:sldId id="2625" r:id="rId25"/>
    <p:sldId id="2627" r:id="rId26"/>
    <p:sldId id="2623" r:id="rId27"/>
    <p:sldId id="268" r:id="rId2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8D5"/>
    <a:srgbClr val="0257B1"/>
    <a:srgbClr val="FE0000"/>
    <a:srgbClr val="96D45E"/>
    <a:srgbClr val="7F2EFF"/>
    <a:srgbClr val="2C64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90" autoAdjust="0"/>
    <p:restoredTop sz="97658" autoAdjust="0"/>
  </p:normalViewPr>
  <p:slideViewPr>
    <p:cSldViewPr snapToGrid="0">
      <p:cViewPr>
        <p:scale>
          <a:sx n="125" d="100"/>
          <a:sy n="125" d="100"/>
        </p:scale>
        <p:origin x="666" y="-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청와대 &quot;검찰과 충돌 없어…조국 임명 기류변화 없다&quot; | 서울특별시 미디어재단 TBS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5" name="직사각형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0626" y="4771660"/>
            <a:ext cx="7747428" cy="1436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-US" altLang="ko-KR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[DAPT] </a:t>
            </a:r>
            <a:r>
              <a:rPr lang="ko-KR" altLang="en-US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북한 주요 도발 사건</a:t>
            </a:r>
            <a:endParaRPr lang="en-US" altLang="ko-KR" sz="4000" b="1" spc="-15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>
              <a:lnSpc>
                <a:spcPct val="115000"/>
              </a:lnSpc>
            </a:pPr>
            <a:r>
              <a:rPr lang="en-US" altLang="ko-KR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2002~2020</a:t>
            </a:r>
            <a:r>
              <a:rPr lang="ko-KR" altLang="en-US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년 대통령 연설문 키워드와의 연관성</a:t>
            </a:r>
          </a:p>
        </p:txBody>
      </p:sp>
      <p:sp>
        <p:nvSpPr>
          <p:cNvPr id="6" name="Google Shape;1412;p152">
            <a:extLst>
              <a:ext uri="{FF2B5EF4-FFF2-40B4-BE49-F238E27FC236}">
                <a16:creationId xmlns:a16="http://schemas.microsoft.com/office/drawing/2014/main" id="{EC235572-EA03-263E-E385-5D358C2A8BD3}"/>
              </a:ext>
            </a:extLst>
          </p:cNvPr>
          <p:cNvSpPr txBox="1"/>
          <p:nvPr userDrawn="1"/>
        </p:nvSpPr>
        <p:spPr>
          <a:xfrm>
            <a:off x="420626" y="4524301"/>
            <a:ext cx="5792214" cy="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400" u="sng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Apr. 15 / 2024</a:t>
            </a:r>
            <a:r>
              <a:rPr 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@ 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연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IT</a:t>
            </a:r>
            <a:r>
              <a:rPr lang="ko-KR" altLang="en-US" sz="1400" u="none" dirty="0" err="1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미래교육원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(702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)</a:t>
            </a:r>
            <a:endParaRPr sz="1400" u="none" dirty="0">
              <a:solidFill>
                <a:srgbClr val="0257B1"/>
              </a:solidFill>
              <a:latin typeface="Pretendard" pitchFamily="2" charset="0"/>
              <a:ea typeface="Pretendard" pitchFamily="2" charset="0"/>
              <a:cs typeface="Pretendard" pitchFamily="2" charset="0"/>
              <a:sym typeface="Pretendard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86776" y="4524301"/>
            <a:ext cx="3514724" cy="167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rgbClr val="025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0257B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3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>
            <a:extLst>
              <a:ext uri="{FF2B5EF4-FFF2-40B4-BE49-F238E27FC236}">
                <a16:creationId xmlns:a16="http://schemas.microsoft.com/office/drawing/2014/main" id="{1571F2B3-398B-C8A6-9C9B-1E04A2092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736"/>
            <a:ext cx="1094302" cy="33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44AC51-126C-3ED4-6A40-84C62AA8C5AD}"/>
              </a:ext>
            </a:extLst>
          </p:cNvPr>
          <p:cNvSpPr txBox="1"/>
          <p:nvPr userDrawn="1"/>
        </p:nvSpPr>
        <p:spPr>
          <a:xfrm>
            <a:off x="3799837" y="763172"/>
            <a:ext cx="4592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 </a:t>
            </a:r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  <a:endParaRPr kumimoji="1" lang="ko-KR" altLang="en-US" sz="3000" b="1" dirty="0" err="1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4750" y="1047750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0.png"/><Relationship Id="rId7" Type="http://schemas.openxmlformats.org/officeDocument/2006/relationships/image" Target="../media/image23.png"/><Relationship Id="rId12" Type="http://schemas.openxmlformats.org/officeDocument/2006/relationships/image" Target="../media/image5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11" Type="http://schemas.openxmlformats.org/officeDocument/2006/relationships/hyperlink" Target="../YS.Project-master_v2/&#49884;&#44033;&#54868;/sps.py" TargetMode="External"/><Relationship Id="rId5" Type="http://schemas.openxmlformats.org/officeDocument/2006/relationships/image" Target="../media/image43.png"/><Relationship Id="rId10" Type="http://schemas.openxmlformats.org/officeDocument/2006/relationships/image" Target="../media/image58.png"/><Relationship Id="rId4" Type="http://schemas.openxmlformats.org/officeDocument/2006/relationships/hyperlink" Target="../YS.Project-master_v2/&#49884;&#44033;&#54868;/speeches1.xlsx" TargetMode="External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65.png"/><Relationship Id="rId3" Type="http://schemas.openxmlformats.org/officeDocument/2006/relationships/image" Target="../media/image23.png"/><Relationship Id="rId7" Type="http://schemas.openxmlformats.org/officeDocument/2006/relationships/image" Target="../media/image45.png"/><Relationship Id="rId12" Type="http://schemas.openxmlformats.org/officeDocument/2006/relationships/image" Target="../media/image6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11" Type="http://schemas.openxmlformats.org/officeDocument/2006/relationships/image" Target="../media/image59.png"/><Relationship Id="rId5" Type="http://schemas.openxmlformats.org/officeDocument/2006/relationships/image" Target="../media/image10.png"/><Relationship Id="rId10" Type="http://schemas.openxmlformats.org/officeDocument/2006/relationships/hyperlink" Target="../YS.Project-master_v2/&#49884;&#44033;&#54868;/sps.py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46.png"/><Relationship Id="rId18" Type="http://schemas.openxmlformats.org/officeDocument/2006/relationships/image" Target="../media/image70.png"/><Relationship Id="rId3" Type="http://schemas.openxmlformats.org/officeDocument/2006/relationships/image" Target="../media/image23.png"/><Relationship Id="rId21" Type="http://schemas.openxmlformats.org/officeDocument/2006/relationships/image" Target="../media/image73.png"/><Relationship Id="rId7" Type="http://schemas.openxmlformats.org/officeDocument/2006/relationships/image" Target="../media/image45.png"/><Relationship Id="rId12" Type="http://schemas.openxmlformats.org/officeDocument/2006/relationships/image" Target="../media/image67.png"/><Relationship Id="rId17" Type="http://schemas.openxmlformats.org/officeDocument/2006/relationships/image" Target="../media/image69.png"/><Relationship Id="rId2" Type="http://schemas.openxmlformats.org/officeDocument/2006/relationships/image" Target="../media/image56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jpeg"/><Relationship Id="rId11" Type="http://schemas.openxmlformats.org/officeDocument/2006/relationships/image" Target="../media/image66.png"/><Relationship Id="rId5" Type="http://schemas.openxmlformats.org/officeDocument/2006/relationships/image" Target="../media/image10.png"/><Relationship Id="rId15" Type="http://schemas.openxmlformats.org/officeDocument/2006/relationships/image" Target="../media/image59.png"/><Relationship Id="rId10" Type="http://schemas.openxmlformats.org/officeDocument/2006/relationships/hyperlink" Target="http://localhost:8501/" TargetMode="External"/><Relationship Id="rId19" Type="http://schemas.openxmlformats.org/officeDocument/2006/relationships/image" Target="../media/image71.png"/><Relationship Id="rId4" Type="http://schemas.openxmlformats.org/officeDocument/2006/relationships/image" Target="../media/image19.png"/><Relationship Id="rId9" Type="http://schemas.openxmlformats.org/officeDocument/2006/relationships/image" Target="../media/image49.png"/><Relationship Id="rId14" Type="http://schemas.openxmlformats.org/officeDocument/2006/relationships/hyperlink" Target="../YS.Project-master_v2/&#49884;&#44033;&#54868;/sps.py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53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gif"/><Relationship Id="rId4" Type="http://schemas.openxmlformats.org/officeDocument/2006/relationships/image" Target="../media/image7.png"/><Relationship Id="rId9" Type="http://schemas.microsoft.com/office/2007/relationships/hdphoto" Target="../media/hdphoto1.wdp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png"/><Relationship Id="rId10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9.png"/><Relationship Id="rId7" Type="http://schemas.openxmlformats.org/officeDocument/2006/relationships/image" Target="../media/image3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jpe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9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jpg"/><Relationship Id="rId5" Type="http://schemas.openxmlformats.org/officeDocument/2006/relationships/image" Target="../media/image37.jp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48.png"/><Relationship Id="rId3" Type="http://schemas.openxmlformats.org/officeDocument/2006/relationships/tags" Target="../tags/tag5.xml"/><Relationship Id="rId21" Type="http://schemas.openxmlformats.org/officeDocument/2006/relationships/image" Target="../media/image51.jpeg"/><Relationship Id="rId7" Type="http://schemas.openxmlformats.org/officeDocument/2006/relationships/image" Target="../media/image19.png"/><Relationship Id="rId12" Type="http://schemas.openxmlformats.org/officeDocument/2006/relationships/image" Target="../media/image44.png"/><Relationship Id="rId17" Type="http://schemas.openxmlformats.org/officeDocument/2006/relationships/image" Target="../media/image47.jpeg"/><Relationship Id="rId25" Type="http://schemas.openxmlformats.org/officeDocument/2006/relationships/image" Target="../media/image55.png"/><Relationship Id="rId2" Type="http://schemas.openxmlformats.org/officeDocument/2006/relationships/tags" Target="../tags/tag4.xml"/><Relationship Id="rId16" Type="http://schemas.openxmlformats.org/officeDocument/2006/relationships/image" Target="../media/image25.png"/><Relationship Id="rId20" Type="http://schemas.openxmlformats.org/officeDocument/2006/relationships/image" Target="../media/image50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43.png"/><Relationship Id="rId24" Type="http://schemas.openxmlformats.org/officeDocument/2006/relationships/image" Target="../media/image54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24.png"/><Relationship Id="rId23" Type="http://schemas.openxmlformats.org/officeDocument/2006/relationships/image" Target="../media/image53.png"/><Relationship Id="rId10" Type="http://schemas.openxmlformats.org/officeDocument/2006/relationships/image" Target="../media/image42.png"/><Relationship Id="rId19" Type="http://schemas.openxmlformats.org/officeDocument/2006/relationships/image" Target="../media/image49.png"/><Relationship Id="rId4" Type="http://schemas.openxmlformats.org/officeDocument/2006/relationships/tags" Target="../tags/tag6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hyperlink" Target="https://www.pa.go.kr/research/contents/speech/index.jsp?spMode=view&amp;catid=c_pa02062&amp;artid=1400321" TargetMode="External"/><Relationship Id="rId18" Type="http://schemas.openxmlformats.org/officeDocument/2006/relationships/image" Target="../media/image59.png"/><Relationship Id="rId3" Type="http://schemas.openxmlformats.org/officeDocument/2006/relationships/image" Target="../media/image10.png"/><Relationship Id="rId21" Type="http://schemas.openxmlformats.org/officeDocument/2006/relationships/image" Target="../media/image62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hyperlink" Target="../YS.Project-master_v2/&#49884;&#44033;&#54868;/sps.py" TargetMode="External"/><Relationship Id="rId2" Type="http://schemas.openxmlformats.org/officeDocument/2006/relationships/image" Target="../media/image19.png"/><Relationship Id="rId16" Type="http://schemas.openxmlformats.org/officeDocument/2006/relationships/image" Target="../media/image58.png"/><Relationship Id="rId20" Type="http://schemas.openxmlformats.org/officeDocument/2006/relationships/image" Target="../media/image6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5" Type="http://schemas.openxmlformats.org/officeDocument/2006/relationships/hyperlink" Target="../YS.Project-master_v2/&#49884;&#44033;&#54868;/speeches1.xlsx" TargetMode="External"/><Relationship Id="rId10" Type="http://schemas.openxmlformats.org/officeDocument/2006/relationships/image" Target="../media/image44.png"/><Relationship Id="rId19" Type="http://schemas.openxmlformats.org/officeDocument/2006/relationships/image" Target="../media/image60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63.png"/><Relationship Id="rId3" Type="http://schemas.openxmlformats.org/officeDocument/2006/relationships/image" Target="../media/image10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0" Type="http://schemas.openxmlformats.org/officeDocument/2006/relationships/image" Target="../media/image44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4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46647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" name="Trapezoid 286">
            <a:extLst>
              <a:ext uri="{FF2B5EF4-FFF2-40B4-BE49-F238E27FC236}">
                <a16:creationId xmlns:a16="http://schemas.microsoft.com/office/drawing/2014/main" id="{ECE2FDED-5684-9E7D-451E-1340782F2518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A2D0407-0852-E279-AC7E-E9168D4EE88C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5AA697C-819D-BFA4-9048-38AEE26B2A21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0FE9E6F-239B-63B1-6D5A-DF8A8473D0D6}"/>
              </a:ext>
            </a:extLst>
          </p:cNvPr>
          <p:cNvSpPr/>
          <p:nvPr/>
        </p:nvSpPr>
        <p:spPr>
          <a:xfrm>
            <a:off x="4578931" y="812651"/>
            <a:ext cx="1862509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60FD9F1-D479-7647-0879-A15E161D11F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259E7786-8A81-C609-4EE2-2C729578929E}"/>
              </a:ext>
            </a:extLst>
          </p:cNvPr>
          <p:cNvSpPr txBox="1"/>
          <p:nvPr/>
        </p:nvSpPr>
        <p:spPr>
          <a:xfrm>
            <a:off x="4865803" y="855883"/>
            <a:ext cx="150205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</a:t>
            </a: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정제 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ko-KR" altLang="en-US" sz="1300" b="1" dirty="0" err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전처리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</a:p>
        </p:txBody>
      </p:sp>
      <p:sp>
        <p:nvSpPr>
          <p:cNvPr id="10" name="Google Shape;1607;p163">
            <a:extLst>
              <a:ext uri="{FF2B5EF4-FFF2-40B4-BE49-F238E27FC236}">
                <a16:creationId xmlns:a16="http://schemas.microsoft.com/office/drawing/2014/main" id="{9A61F813-C306-E496-97C7-A4244DC7D5AD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742AD6-D864-F97E-E6C4-6D62F3D64646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42F351-05B1-F37B-5964-3B9E1FF6A91F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②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정제 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전처리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</a:p>
        </p:txBody>
      </p:sp>
      <p:pic>
        <p:nvPicPr>
          <p:cNvPr id="15" name="Picture 7" descr="C:\Users\Administrator\Desktop\02.PNG">
            <a:extLst>
              <a:ext uri="{FF2B5EF4-FFF2-40B4-BE49-F238E27FC236}">
                <a16:creationId xmlns:a16="http://schemas.microsoft.com/office/drawing/2014/main" id="{B55D1665-A26A-CD5C-A3F9-CD97A7333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1634A1F9-31FD-5A1B-E757-81AA9DEEB3B1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361ABDC-50CA-DB58-EF7D-E07AC5186293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E658084C-3861-193A-9050-95771A9BBB2A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삼각형 1">
            <a:extLst>
              <a:ext uri="{FF2B5EF4-FFF2-40B4-BE49-F238E27FC236}">
                <a16:creationId xmlns:a16="http://schemas.microsoft.com/office/drawing/2014/main" id="{46B17058-439A-842B-BD4C-6E07F8ABFFE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" name="삼각형 1">
            <a:extLst>
              <a:ext uri="{FF2B5EF4-FFF2-40B4-BE49-F238E27FC236}">
                <a16:creationId xmlns:a16="http://schemas.microsoft.com/office/drawing/2014/main" id="{404CD58C-8FC6-E482-4881-6A3B47415F80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DC897-578F-EE2D-C929-87EB310D39AB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F3E7-B810-EF3A-F015-87190A4C5976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39DEAFCA-9544-9979-6C72-196FA8D821FB}"/>
              </a:ext>
            </a:extLst>
          </p:cNvPr>
          <p:cNvSpPr>
            <a:spLocks/>
          </p:cNvSpPr>
          <p:nvPr/>
        </p:nvSpPr>
        <p:spPr>
          <a:xfrm>
            <a:off x="6204488" y="2193372"/>
            <a:ext cx="3907704" cy="159461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B6F20C-235C-C99E-D15E-9907035B9FA4}"/>
              </a:ext>
            </a:extLst>
          </p:cNvPr>
          <p:cNvSpPr txBox="1"/>
          <p:nvPr/>
        </p:nvSpPr>
        <p:spPr>
          <a:xfrm>
            <a:off x="6287188" y="2252016"/>
            <a:ext cx="37423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영문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숫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글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공백을 제외한 모든 문자를 찾아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용어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명사만 추출하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빈도 개수 세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1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미만 단어 제외 및 내림차순 정렬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DF0C22-F6A8-53ED-2566-CB398028AC09}"/>
              </a:ext>
            </a:extLst>
          </p:cNvPr>
          <p:cNvSpPr txBox="1"/>
          <p:nvPr/>
        </p:nvSpPr>
        <p:spPr>
          <a:xfrm>
            <a:off x="7367467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CA0EDE-60FF-3307-FE40-6833EA689372}"/>
              </a:ext>
            </a:extLst>
          </p:cNvPr>
          <p:cNvSpPr txBox="1"/>
          <p:nvPr/>
        </p:nvSpPr>
        <p:spPr>
          <a:xfrm>
            <a:off x="6911004" y="4032375"/>
            <a:ext cx="24817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0" name="Picture 20">
            <a:hlinkClick r:id="rId4" action="ppaction://hlinkfile"/>
            <a:extLst>
              <a:ext uri="{FF2B5EF4-FFF2-40B4-BE49-F238E27FC236}">
                <a16:creationId xmlns:a16="http://schemas.microsoft.com/office/drawing/2014/main" id="{15704226-037A-EF65-E486-4AA25848D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A9BEC961-450A-E683-DB69-61F1AFD9E13A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71FC77A-5C6D-6F1D-D04A-1BDC5DC85303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F95E5D3-A444-BDF5-DC35-53F7487C8F6E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B628C5-0E0A-036E-B87F-04F1F9D9FB40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F5F3454-66EA-0EA2-365D-C4D830E60D51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ABA6DB7-DF9F-9CBE-1863-9939145D1ADD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EC7F316-5A6C-F081-8556-D183D11D5DC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E62B68E-B5CA-6C77-A4CD-E91F14F507E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88" name="텍스트 개체 틀 241">
            <a:extLst>
              <a:ext uri="{FF2B5EF4-FFF2-40B4-BE49-F238E27FC236}">
                <a16:creationId xmlns:a16="http://schemas.microsoft.com/office/drawing/2014/main" id="{4563BDEC-1D7D-76CF-8557-7717411F492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9559F3C-4FFA-495E-1D64-A5036F5B3350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92" name="그림 91">
              <a:extLst>
                <a:ext uri="{FF2B5EF4-FFF2-40B4-BE49-F238E27FC236}">
                  <a16:creationId xmlns:a16="http://schemas.microsoft.com/office/drawing/2014/main" id="{E73B99CE-032D-8083-3F95-4A0D9A95F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A8C6F039-75D3-7F3A-4EE1-EC05D24788B3}"/>
                </a:ext>
              </a:extLst>
            </p:cNvPr>
            <p:cNvSpPr/>
            <p:nvPr/>
          </p:nvSpPr>
          <p:spPr>
            <a:xfrm>
              <a:off x="1268029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4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A6020DCD-3E39-2300-B7E9-856BB6D9C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1722858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050526C1-3645-BF74-388D-A7A808CA4F1B}"/>
              </a:ext>
            </a:extLst>
          </p:cNvPr>
          <p:cNvGrpSpPr/>
          <p:nvPr/>
        </p:nvGrpSpPr>
        <p:grpSpPr>
          <a:xfrm>
            <a:off x="796992" y="2658658"/>
            <a:ext cx="2221200" cy="3522031"/>
            <a:chOff x="812604" y="2658658"/>
            <a:chExt cx="2221200" cy="3651282"/>
          </a:xfrm>
        </p:grpSpPr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6719C3A8-F173-5592-3D34-1C03DA4C2020}"/>
                </a:ext>
              </a:extLst>
            </p:cNvPr>
            <p:cNvGrpSpPr/>
            <p:nvPr/>
          </p:nvGrpSpPr>
          <p:grpSpPr>
            <a:xfrm>
              <a:off x="812604" y="3001849"/>
              <a:ext cx="2221200" cy="3308091"/>
              <a:chOff x="1012364" y="2837620"/>
              <a:chExt cx="1969235" cy="2784704"/>
            </a:xfrm>
          </p:grpSpPr>
          <p:sp>
            <p:nvSpPr>
              <p:cNvPr id="95" name="사각형: 둥근 모서리 79">
                <a:extLst>
                  <a:ext uri="{FF2B5EF4-FFF2-40B4-BE49-F238E27FC236}">
                    <a16:creationId xmlns:a16="http://schemas.microsoft.com/office/drawing/2014/main" id="{A3FC2220-CDE1-7C6F-30B6-56E40451E725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A396F561-4E76-F60B-2866-9A536285D8F9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사각형: 둥근 모서리 79">
                <a:extLst>
                  <a:ext uri="{FF2B5EF4-FFF2-40B4-BE49-F238E27FC236}">
                    <a16:creationId xmlns:a16="http://schemas.microsoft.com/office/drawing/2014/main" id="{9BA53A9E-428E-865E-7B87-02BAEAAD2A1D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8" name="타원 97">
                <a:extLst>
                  <a:ext uri="{FF2B5EF4-FFF2-40B4-BE49-F238E27FC236}">
                    <a16:creationId xmlns:a16="http://schemas.microsoft.com/office/drawing/2014/main" id="{FC783410-3403-F12F-290A-34ED15B77FA3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1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9" name="타원 98">
                <a:extLst>
                  <a:ext uri="{FF2B5EF4-FFF2-40B4-BE49-F238E27FC236}">
                    <a16:creationId xmlns:a16="http://schemas.microsoft.com/office/drawing/2014/main" id="{0542D2BB-BE8B-57B3-5D38-AB12030703AC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2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BC92264C-823B-8A3E-AD01-F1675B7253D2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3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1" name="그룹 100">
                <a:extLst>
                  <a:ext uri="{FF2B5EF4-FFF2-40B4-BE49-F238E27FC236}">
                    <a16:creationId xmlns:a16="http://schemas.microsoft.com/office/drawing/2014/main" id="{51532FDD-AA96-5831-0AA9-AEF60E6E6C05}"/>
                  </a:ext>
                </a:extLst>
              </p:cNvPr>
              <p:cNvGrpSpPr/>
              <p:nvPr/>
            </p:nvGrpSpPr>
            <p:grpSpPr>
              <a:xfrm>
                <a:off x="1156649" y="2930842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C243F8E-AFAE-C364-1A94-7E407A406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5457871D-0F1D-A79E-D694-5CCAAB28C969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형태소 분석</a:t>
                  </a:r>
                  <a:endParaRPr lang="ko-KR" altLang="en-US" sz="1100" dirty="0"/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B894E38-AAD3-AEC2-BD35-89A494C3B658}"/>
                  </a:ext>
                </a:extLst>
              </p:cNvPr>
              <p:cNvSpPr txBox="1"/>
              <p:nvPr/>
            </p:nvSpPr>
            <p:spPr>
              <a:xfrm>
                <a:off x="2083442" y="2837620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명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동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형용사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09C946E-6D3C-D8A7-112E-9D2C785CA7A0}"/>
                  </a:ext>
                </a:extLst>
              </p:cNvPr>
              <p:cNvSpPr txBox="1"/>
              <p:nvPr/>
            </p:nvSpPr>
            <p:spPr>
              <a:xfrm>
                <a:off x="2285161" y="3361144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6" name="그룹 105">
                <a:extLst>
                  <a:ext uri="{FF2B5EF4-FFF2-40B4-BE49-F238E27FC236}">
                    <a16:creationId xmlns:a16="http://schemas.microsoft.com/office/drawing/2014/main" id="{DAA01117-2CFA-A697-87A0-00B9B3D47F81}"/>
                  </a:ext>
                </a:extLst>
              </p:cNvPr>
              <p:cNvGrpSpPr/>
              <p:nvPr/>
            </p:nvGrpSpPr>
            <p:grpSpPr>
              <a:xfrm>
                <a:off x="1092877" y="3887457"/>
                <a:ext cx="1069482" cy="711150"/>
                <a:chOff x="3389021" y="3253880"/>
                <a:chExt cx="1069482" cy="711150"/>
              </a:xfrm>
            </p:grpSpPr>
            <p:pic>
              <p:nvPicPr>
                <p:cNvPr id="107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7D7AFA7-B618-7F00-5121-4C0966BFB4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31252" y="3253880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42564BD3-536C-362D-FA69-5B39627098FB}"/>
                    </a:ext>
                  </a:extLst>
                </p:cNvPr>
                <p:cNvSpPr txBox="1"/>
                <p:nvPr/>
              </p:nvSpPr>
              <p:spPr>
                <a:xfrm>
                  <a:off x="3389021" y="3703420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 err="1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불용어</a:t>
                  </a:r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 설정 및 제외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9" name="그룹 108">
                <a:extLst>
                  <a:ext uri="{FF2B5EF4-FFF2-40B4-BE49-F238E27FC236}">
                    <a16:creationId xmlns:a16="http://schemas.microsoft.com/office/drawing/2014/main" id="{3848B4AB-7D23-15B2-6471-9F010566028C}"/>
                  </a:ext>
                </a:extLst>
              </p:cNvPr>
              <p:cNvGrpSpPr/>
              <p:nvPr/>
            </p:nvGrpSpPr>
            <p:grpSpPr>
              <a:xfrm>
                <a:off x="1092877" y="4835710"/>
                <a:ext cx="1069482" cy="711150"/>
                <a:chOff x="3322793" y="4216197"/>
                <a:chExt cx="1069482" cy="711150"/>
              </a:xfrm>
            </p:grpSpPr>
            <p:pic>
              <p:nvPicPr>
                <p:cNvPr id="110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99600A1C-D6EE-03E7-C222-3D5E1654C5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65024" y="4216197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1" name="TextBox 110">
                  <a:extLst>
                    <a:ext uri="{FF2B5EF4-FFF2-40B4-BE49-F238E27FC236}">
                      <a16:creationId xmlns:a16="http://schemas.microsoft.com/office/drawing/2014/main" id="{44B12123-5B08-A952-F924-699ACDFA7077}"/>
                    </a:ext>
                  </a:extLst>
                </p:cNvPr>
                <p:cNvSpPr txBox="1"/>
                <p:nvPr/>
              </p:nvSpPr>
              <p:spPr>
                <a:xfrm>
                  <a:off x="3322793" y="4665737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출현 빈도순 정렬</a:t>
                  </a:r>
                  <a:endParaRPr lang="ko-KR" altLang="en-US" sz="1100" dirty="0"/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8427F32E-746E-22E4-F89A-0C52808411AA}"/>
                  </a:ext>
                </a:extLst>
              </p:cNvPr>
              <p:cNvSpPr txBox="1"/>
              <p:nvPr/>
            </p:nvSpPr>
            <p:spPr>
              <a:xfrm>
                <a:off x="2076042" y="3798933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합니다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이며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5DE718B-3D35-E3D2-2A25-2B886C420327}"/>
                  </a:ext>
                </a:extLst>
              </p:cNvPr>
              <p:cNvSpPr txBox="1"/>
              <p:nvPr/>
            </p:nvSpPr>
            <p:spPr>
              <a:xfrm>
                <a:off x="2277761" y="4321408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C5AE694-12BC-6AD8-0B4C-37B843E8E3A5}"/>
                  </a:ext>
                </a:extLst>
              </p:cNvPr>
              <p:cNvSpPr txBox="1"/>
              <p:nvPr/>
            </p:nvSpPr>
            <p:spPr>
              <a:xfrm>
                <a:off x="2081938" y="4761295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회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평화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국민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44D6B87-477D-E1D8-92DC-0C6695CC3686}"/>
                  </a:ext>
                </a:extLst>
              </p:cNvPr>
              <p:cNvSpPr txBox="1"/>
              <p:nvPr/>
            </p:nvSpPr>
            <p:spPr>
              <a:xfrm>
                <a:off x="2283657" y="5283770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AD3785B-0473-F27F-47D0-B294206BA537}"/>
                </a:ext>
              </a:extLst>
            </p:cNvPr>
            <p:cNvSpPr txBox="1"/>
            <p:nvPr/>
          </p:nvSpPr>
          <p:spPr>
            <a:xfrm>
              <a:off x="911401" y="2658658"/>
              <a:ext cx="1994081" cy="312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분석 및 정제</a:t>
              </a:r>
              <a:endParaRPr lang="ko-KR" altLang="en-US" sz="1400" b="1" u="sng" dirty="0"/>
            </a:p>
          </p:txBody>
        </p:sp>
      </p:grpSp>
      <p:pic>
        <p:nvPicPr>
          <p:cNvPr id="220" name="Picture 22">
            <a:extLst>
              <a:ext uri="{FF2B5EF4-FFF2-40B4-BE49-F238E27FC236}">
                <a16:creationId xmlns:a16="http://schemas.microsoft.com/office/drawing/2014/main" id="{F9A4B2CC-2C5F-6970-E5A3-E91434C21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9B0CC9C6-C429-FB62-2B01-E44419493DA7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D725BD-4969-DB08-61DC-F8A6F1F370E6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4D436BB9-7B62-F043-375F-25D912FDAF50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A3FE32-2E5D-69A7-A748-2E3BE71CF907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C9ED00-AAD1-45A1-D472-31C8B7AD1426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98A1E3E4-178A-3684-61B0-0885CBFC57E4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FDB946-8A45-CFCF-B49A-394078B8DA14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13E487-3004-B942-7166-9EFF9AA0B257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74D785-AF16-2EE5-431E-13494603684E}"/>
              </a:ext>
            </a:extLst>
          </p:cNvPr>
          <p:cNvGrpSpPr/>
          <p:nvPr/>
        </p:nvGrpSpPr>
        <p:grpSpPr>
          <a:xfrm>
            <a:off x="6247492" y="4535551"/>
            <a:ext cx="3808767" cy="1002749"/>
            <a:chOff x="6266868" y="4612960"/>
            <a:chExt cx="3808767" cy="1002749"/>
          </a:xfrm>
        </p:grpSpPr>
        <p:pic>
          <p:nvPicPr>
            <p:cNvPr id="62" name="Picture 6" descr="List icon - Free download on Iconfinder">
              <a:extLst>
                <a:ext uri="{FF2B5EF4-FFF2-40B4-BE49-F238E27FC236}">
                  <a16:creationId xmlns:a16="http://schemas.microsoft.com/office/drawing/2014/main" id="{D66586B0-D7B6-5C51-023D-67375ADBD6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353804" y="4761824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AEF1129-E351-8DB3-3D87-AFE5B1F3BB58}"/>
                </a:ext>
              </a:extLst>
            </p:cNvPr>
            <p:cNvSpPr txBox="1"/>
            <p:nvPr/>
          </p:nvSpPr>
          <p:spPr>
            <a:xfrm>
              <a:off x="8399840" y="5338710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ACEA7639-B942-E05D-101E-8AF2839ECD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87574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56D71-D9A7-6424-9F39-BD14721C0EE5}"/>
                </a:ext>
              </a:extLst>
            </p:cNvPr>
            <p:cNvSpPr txBox="1"/>
            <p:nvPr/>
          </p:nvSpPr>
          <p:spPr>
            <a:xfrm>
              <a:off x="6266868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595646D-C3DD-87A0-D99F-AB078A4E9A49}"/>
                </a:ext>
              </a:extLst>
            </p:cNvPr>
            <p:cNvSpPr txBox="1"/>
            <p:nvPr/>
          </p:nvSpPr>
          <p:spPr>
            <a:xfrm>
              <a:off x="7303244" y="5338710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/>
                <a:t>pp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77" name="Picture 8" descr="Python file symbol - Free interface icons">
              <a:hlinkClick r:id="rId11" action="ppaction://hlinkfile"/>
              <a:extLst>
                <a:ext uri="{FF2B5EF4-FFF2-40B4-BE49-F238E27FC236}">
                  <a16:creationId xmlns:a16="http://schemas.microsoft.com/office/drawing/2014/main" id="{E51D3AB1-1B9F-B6CF-A5A6-70FB8F82C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0771" y="4620223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삼각형 1">
              <a:extLst>
                <a:ext uri="{FF2B5EF4-FFF2-40B4-BE49-F238E27FC236}">
                  <a16:creationId xmlns:a16="http://schemas.microsoft.com/office/drawing/2014/main" id="{73D3E789-1D3B-4BEA-CD77-B4BD9035E837}"/>
                </a:ext>
              </a:extLst>
            </p:cNvPr>
            <p:cNvSpPr/>
            <p:nvPr/>
          </p:nvSpPr>
          <p:spPr>
            <a:xfrm rot="5400000">
              <a:off x="690632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6" name="삼각형 1">
              <a:extLst>
                <a:ext uri="{FF2B5EF4-FFF2-40B4-BE49-F238E27FC236}">
                  <a16:creationId xmlns:a16="http://schemas.microsoft.com/office/drawing/2014/main" id="{4D96D3B8-D5C5-2F29-826F-0DFC01151C4B}"/>
                </a:ext>
              </a:extLst>
            </p:cNvPr>
            <p:cNvSpPr/>
            <p:nvPr/>
          </p:nvSpPr>
          <p:spPr>
            <a:xfrm rot="5400000">
              <a:off x="7817421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38" name="Picture 22">
              <a:extLst>
                <a:ext uri="{FF2B5EF4-FFF2-40B4-BE49-F238E27FC236}">
                  <a16:creationId xmlns:a16="http://schemas.microsoft.com/office/drawing/2014/main" id="{79D6B614-1AF1-79E2-AB40-D96F71B2C8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60739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F049A37-6BDA-D3A1-428D-8D68D01906FD}"/>
                </a:ext>
              </a:extLst>
            </p:cNvPr>
            <p:cNvSpPr txBox="1"/>
            <p:nvPr/>
          </p:nvSpPr>
          <p:spPr>
            <a:xfrm>
              <a:off x="9140033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2" name="삼각형 1">
              <a:extLst>
                <a:ext uri="{FF2B5EF4-FFF2-40B4-BE49-F238E27FC236}">
                  <a16:creationId xmlns:a16="http://schemas.microsoft.com/office/drawing/2014/main" id="{BB852DDB-E8AB-0991-8755-FCA970FFBF2B}"/>
                </a:ext>
              </a:extLst>
            </p:cNvPr>
            <p:cNvSpPr/>
            <p:nvPr/>
          </p:nvSpPr>
          <p:spPr>
            <a:xfrm rot="5400000">
              <a:off x="882435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24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③ </a:t>
            </a:r>
            <a:r>
              <a:rPr lang="ko-KR" altLang="en-US" dirty="0"/>
              <a:t>데이터 시각화</a:t>
            </a:r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③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시각화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0E8B0-12B1-092D-B5E5-FCCA53594BBF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1933853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2388682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0644585-39F2-5074-9646-6E7C4B39E872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683958D8-3DC8-A481-2AF7-1D2AB935CE50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B76F7771-2128-BF20-CAAE-B03884104DEF}"/>
              </a:ext>
            </a:extLst>
          </p:cNvPr>
          <p:cNvSpPr/>
          <p:nvPr/>
        </p:nvSpPr>
        <p:spPr>
          <a:xfrm>
            <a:off x="4578931" y="812651"/>
            <a:ext cx="1534435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0AF9FEF8-76AF-6DC0-836A-60223DA2117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6" name="TextBox 39">
            <a:extLst>
              <a:ext uri="{FF2B5EF4-FFF2-40B4-BE49-F238E27FC236}">
                <a16:creationId xmlns:a16="http://schemas.microsoft.com/office/drawing/2014/main" id="{A65EDC4C-BBB6-7F26-1197-16DC74B1D867}"/>
              </a:ext>
            </a:extLst>
          </p:cNvPr>
          <p:cNvSpPr txBox="1"/>
          <p:nvPr/>
        </p:nvSpPr>
        <p:spPr>
          <a:xfrm>
            <a:off x="4865804" y="855883"/>
            <a:ext cx="114745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7" name="Picture 7" descr="C:\Users\Administrator\Desktop\02.PNG">
            <a:extLst>
              <a:ext uri="{FF2B5EF4-FFF2-40B4-BE49-F238E27FC236}">
                <a16:creationId xmlns:a16="http://schemas.microsoft.com/office/drawing/2014/main" id="{32F0F586-F878-FF93-3023-E9FC3F8F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52AA8EC-4654-E6D5-68EC-5ED5B71AEF9E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EEAF2B86-1EAD-5C27-3D13-996521A56B3D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13EAF339-C458-4415-DE70-E30841656E0F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삼각형 1">
            <a:extLst>
              <a:ext uri="{FF2B5EF4-FFF2-40B4-BE49-F238E27FC236}">
                <a16:creationId xmlns:a16="http://schemas.microsoft.com/office/drawing/2014/main" id="{5D5A74EE-0098-A11A-BC90-89201C14BFF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2" name="삼각형 1">
            <a:extLst>
              <a:ext uri="{FF2B5EF4-FFF2-40B4-BE49-F238E27FC236}">
                <a16:creationId xmlns:a16="http://schemas.microsoft.com/office/drawing/2014/main" id="{6478AF38-EE6C-E06E-C480-27402053FECC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E9BBE8-8827-2C1C-1586-1BB6988CB19F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9754F-95E9-D1FD-18F2-C62A12FFB78D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204488" y="2074788"/>
            <a:ext cx="3907704" cy="1615228"/>
            <a:chOff x="6204488" y="2172760"/>
            <a:chExt cx="3907704" cy="1615228"/>
          </a:xfrm>
        </p:grpSpPr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96EF7604-2611-D6E4-6CFB-D0669B856A3F}"/>
                </a:ext>
              </a:extLst>
            </p:cNvPr>
            <p:cNvSpPr>
              <a:spLocks/>
            </p:cNvSpPr>
            <p:nvPr/>
          </p:nvSpPr>
          <p:spPr>
            <a:xfrm>
              <a:off x="6204488" y="2172760"/>
              <a:ext cx="3907704" cy="1615228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71AD64D-9369-D288-47D7-F59EAD88A6D1}"/>
                </a:ext>
              </a:extLst>
            </p:cNvPr>
            <p:cNvSpPr txBox="1"/>
            <p:nvPr/>
          </p:nvSpPr>
          <p:spPr>
            <a:xfrm>
              <a:off x="6287188" y="2195544"/>
              <a:ext cx="3742304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c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변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→ Dictionary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워드클라우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저장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_wc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막대그래프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저장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6B70604-855C-D831-4017-01241D27817F}"/>
              </a:ext>
            </a:extLst>
          </p:cNvPr>
          <p:cNvSpPr txBox="1"/>
          <p:nvPr/>
        </p:nvSpPr>
        <p:spPr>
          <a:xfrm>
            <a:off x="7373932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각화 함수 기능</a:t>
            </a:r>
          </a:p>
        </p:txBody>
      </p:sp>
      <p:pic>
        <p:nvPicPr>
          <p:cNvPr id="78" name="Picture 22">
            <a:extLst>
              <a:ext uri="{FF2B5EF4-FFF2-40B4-BE49-F238E27FC236}">
                <a16:creationId xmlns:a16="http://schemas.microsoft.com/office/drawing/2014/main" id="{77D9D4AB-3723-13B6-93E4-09F21CD87F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1AFF518-A88D-B354-AEA3-2E54874168DE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C8FBDA6-F474-4B6E-059A-6D3144BEB23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0D6D46EC-F1F1-12F7-2687-96FFF6A03A09}"/>
              </a:ext>
            </a:extLst>
          </p:cNvPr>
          <p:cNvGrpSpPr/>
          <p:nvPr/>
        </p:nvGrpSpPr>
        <p:grpSpPr>
          <a:xfrm>
            <a:off x="4806669" y="4731454"/>
            <a:ext cx="814767" cy="1058363"/>
            <a:chOff x="4806669" y="4624944"/>
            <a:chExt cx="814767" cy="1058363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AF8BC5-CBF0-9C36-FD98-F3EA8626569D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95FC35D-2C2E-73C3-2737-DDCF1139C580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BBBB4C0C-7B28-AD08-DC6D-E586D66AF124}"/>
              </a:ext>
            </a:extLst>
          </p:cNvPr>
          <p:cNvGrpSpPr/>
          <p:nvPr/>
        </p:nvGrpSpPr>
        <p:grpSpPr>
          <a:xfrm>
            <a:off x="4806669" y="3536602"/>
            <a:ext cx="814767" cy="1050988"/>
            <a:chOff x="4806669" y="3375264"/>
            <a:chExt cx="814767" cy="1050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C5F13B-3197-C082-15D3-3CED8836EE4C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F3938F6-1408-35D7-539D-430AAC432D21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565314B-1FA8-4F00-DAAC-81E948F95F17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796992" y="2658658"/>
            <a:chExt cx="2221200" cy="31822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235395F-E5FA-9582-A5CD-9A240EBA4B9D}"/>
                </a:ext>
              </a:extLst>
            </p:cNvPr>
            <p:cNvSpPr txBox="1"/>
            <p:nvPr/>
          </p:nvSpPr>
          <p:spPr>
            <a:xfrm>
              <a:off x="910552" y="2658658"/>
              <a:ext cx="199408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데이터 시각화</a:t>
              </a:r>
              <a:endParaRPr lang="ko-KR" altLang="en-US" sz="1400" b="1" u="sng" dirty="0"/>
            </a:p>
          </p:txBody>
        </p: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EDD58EF9-5217-BAC2-82AC-0C0C9518C27A}"/>
                </a:ext>
              </a:extLst>
            </p:cNvPr>
            <p:cNvGrpSpPr/>
            <p:nvPr/>
          </p:nvGrpSpPr>
          <p:grpSpPr>
            <a:xfrm>
              <a:off x="796992" y="3054199"/>
              <a:ext cx="2221200" cy="2786693"/>
              <a:chOff x="-2554004" y="2881787"/>
              <a:chExt cx="1968483" cy="2786693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058565DB-1713-50F3-5A6D-12A0EA2E08EE}"/>
                  </a:ext>
                </a:extLst>
              </p:cNvPr>
              <p:cNvSpPr/>
              <p:nvPr/>
            </p:nvSpPr>
            <p:spPr>
              <a:xfrm>
                <a:off x="-2553252" y="2881787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2" name="사각형: 둥근 모서리 79">
                <a:extLst>
                  <a:ext uri="{FF2B5EF4-FFF2-40B4-BE49-F238E27FC236}">
                    <a16:creationId xmlns:a16="http://schemas.microsoft.com/office/drawing/2014/main" id="{0EA4D125-117B-B70E-BD51-DE5AC3F5869B}"/>
                  </a:ext>
                </a:extLst>
              </p:cNvPr>
              <p:cNvSpPr/>
              <p:nvPr/>
            </p:nvSpPr>
            <p:spPr>
              <a:xfrm>
                <a:off x="-2553252" y="3843100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4" name="그룹 103">
                <a:extLst>
                  <a:ext uri="{FF2B5EF4-FFF2-40B4-BE49-F238E27FC236}">
                    <a16:creationId xmlns:a16="http://schemas.microsoft.com/office/drawing/2014/main" id="{CB09187A-A035-B3B0-0DD6-152D812B2AEF}"/>
                  </a:ext>
                </a:extLst>
              </p:cNvPr>
              <p:cNvGrpSpPr/>
              <p:nvPr/>
            </p:nvGrpSpPr>
            <p:grpSpPr>
              <a:xfrm>
                <a:off x="-2553252" y="2957251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5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2A44F07A-5DD7-FF4A-79AD-6F20B50A77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7964AEC1-72AC-D847-416F-65ADE18C3A63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워드클라우드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3282A915-5D6D-44B9-371B-46477AC74282}"/>
                  </a:ext>
                </a:extLst>
              </p:cNvPr>
              <p:cNvGrpSpPr/>
              <p:nvPr/>
            </p:nvGrpSpPr>
            <p:grpSpPr>
              <a:xfrm>
                <a:off x="-2553252" y="3918564"/>
                <a:ext cx="941938" cy="711150"/>
                <a:chOff x="6070453" y="3293393"/>
                <a:chExt cx="941938" cy="711150"/>
              </a:xfrm>
            </p:grpSpPr>
            <p:pic>
              <p:nvPicPr>
                <p:cNvPr id="108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AA42DDB1-EC3F-33CB-6F78-E6E5B2A8466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912" y="3293393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ACA7C1F0-1709-D888-16D9-75EFE773AB28}"/>
                    </a:ext>
                  </a:extLst>
                </p:cNvPr>
                <p:cNvSpPr txBox="1"/>
                <p:nvPr/>
              </p:nvSpPr>
              <p:spPr>
                <a:xfrm>
                  <a:off x="6070453" y="3742933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막대 그래프</a:t>
                  </a:r>
                  <a:endParaRPr lang="ko-KR" altLang="en-US" sz="1100" dirty="0"/>
                </a:p>
              </p:txBody>
            </p:sp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F023CA46-98B0-F7CB-5B00-EA36C9995504}"/>
                  </a:ext>
                </a:extLst>
              </p:cNvPr>
              <p:cNvSpPr txBox="1"/>
              <p:nvPr/>
            </p:nvSpPr>
            <p:spPr>
              <a:xfrm>
                <a:off x="-1814838" y="3070260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D4AA406-4387-6060-D236-79DB97CA0DD2}"/>
                  </a:ext>
                </a:extLst>
              </p:cNvPr>
              <p:cNvSpPr txBox="1"/>
              <p:nvPr/>
            </p:nvSpPr>
            <p:spPr>
              <a:xfrm>
                <a:off x="-1806438" y="4031573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12" name="그룹 111">
                <a:extLst>
                  <a:ext uri="{FF2B5EF4-FFF2-40B4-BE49-F238E27FC236}">
                    <a16:creationId xmlns:a16="http://schemas.microsoft.com/office/drawing/2014/main" id="{359FF4A4-7695-8B98-89ED-46C5AAC4E786}"/>
                  </a:ext>
                </a:extLst>
              </p:cNvPr>
              <p:cNvGrpSpPr/>
              <p:nvPr/>
            </p:nvGrpSpPr>
            <p:grpSpPr>
              <a:xfrm>
                <a:off x="-2554004" y="4862714"/>
                <a:ext cx="1967731" cy="805766"/>
                <a:chOff x="5926840" y="4184970"/>
                <a:chExt cx="1967731" cy="805766"/>
              </a:xfrm>
            </p:grpSpPr>
            <p:pic>
              <p:nvPicPr>
                <p:cNvPr id="113" name="그림 112">
                  <a:extLst>
                    <a:ext uri="{FF2B5EF4-FFF2-40B4-BE49-F238E27FC236}">
                      <a16:creationId xmlns:a16="http://schemas.microsoft.com/office/drawing/2014/main" id="{A9FE1F4D-787C-3908-B816-1C4E78D9D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135" t="10993" r="10106" b="12035"/>
                <a:stretch/>
              </p:blipFill>
              <p:spPr>
                <a:xfrm>
                  <a:off x="5926840" y="4184970"/>
                  <a:ext cx="801563" cy="80377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114" name="Picture 28" descr="Python Charts - Beautiful Bar Charts in Matplotlib">
                  <a:extLst>
                    <a:ext uri="{FF2B5EF4-FFF2-40B4-BE49-F238E27FC236}">
                      <a16:creationId xmlns:a16="http://schemas.microsoft.com/office/drawing/2014/main" id="{EE5DEFCC-CDAD-0BB8-20DD-912A4355895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14503" y="4184970"/>
                  <a:ext cx="1080068" cy="80576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61E0B82-A73E-4AB8-27AF-520DFFAD2CB2}"/>
              </a:ext>
            </a:extLst>
          </p:cNvPr>
          <p:cNvGrpSpPr/>
          <p:nvPr/>
        </p:nvGrpSpPr>
        <p:grpSpPr>
          <a:xfrm>
            <a:off x="10691154" y="2334374"/>
            <a:ext cx="804074" cy="1325889"/>
            <a:chOff x="10691154" y="1887270"/>
            <a:chExt cx="804074" cy="132588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DBF289-7F4F-96DE-2B7B-DDEF6633E7AE}"/>
                </a:ext>
              </a:extLst>
            </p:cNvPr>
            <p:cNvSpPr txBox="1"/>
            <p:nvPr/>
          </p:nvSpPr>
          <p:spPr>
            <a:xfrm>
              <a:off x="10691154" y="1887270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ord</a:t>
              </a:r>
              <a:r>
                <a:rPr lang="ko-KR" altLang="en-US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loud</a:t>
              </a:r>
              <a:endParaRPr lang="ko-KR" altLang="en-US" sz="1600" dirty="0"/>
            </a:p>
          </p:txBody>
        </p:sp>
        <p:pic>
          <p:nvPicPr>
            <p:cNvPr id="123" name="그림 122">
              <a:extLst>
                <a:ext uri="{FF2B5EF4-FFF2-40B4-BE49-F238E27FC236}">
                  <a16:creationId xmlns:a16="http://schemas.microsoft.com/office/drawing/2014/main" id="{2048E36D-B62C-DE53-EC2A-53D1BBB8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10719501" y="2478319"/>
              <a:ext cx="747381" cy="7348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753BF69-E4E5-2CC9-65DC-6C2C934654D0}"/>
              </a:ext>
            </a:extLst>
          </p:cNvPr>
          <p:cNvGrpSpPr/>
          <p:nvPr/>
        </p:nvGrpSpPr>
        <p:grpSpPr>
          <a:xfrm>
            <a:off x="10651382" y="4336874"/>
            <a:ext cx="883619" cy="1237500"/>
            <a:chOff x="10651382" y="3621012"/>
            <a:chExt cx="883619" cy="1237500"/>
          </a:xfrm>
        </p:grpSpPr>
        <p:pic>
          <p:nvPicPr>
            <p:cNvPr id="124" name="Picture 28" descr="Python Charts - Beautiful Bar Charts in Matplotlib">
              <a:extLst>
                <a:ext uri="{FF2B5EF4-FFF2-40B4-BE49-F238E27FC236}">
                  <a16:creationId xmlns:a16="http://schemas.microsoft.com/office/drawing/2014/main" id="{E064DE27-2A9D-6FB5-727D-FD83D551A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1382" y="4212150"/>
              <a:ext cx="883619" cy="64636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BFBFB62-70BE-2DEB-D3BE-22B24062D293}"/>
                </a:ext>
              </a:extLst>
            </p:cNvPr>
            <p:cNvSpPr txBox="1"/>
            <p:nvPr/>
          </p:nvSpPr>
          <p:spPr>
            <a:xfrm>
              <a:off x="10691154" y="3621012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 chart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6198023" y="4032375"/>
            <a:ext cx="3907704" cy="1700806"/>
            <a:chOff x="6198023" y="4032375"/>
            <a:chExt cx="3907704" cy="1700806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83E69BD-250B-200B-1914-1F24DF936E69}"/>
                </a:ext>
              </a:extLst>
            </p:cNvPr>
            <p:cNvSpPr txBox="1"/>
            <p:nvPr/>
          </p:nvSpPr>
          <p:spPr>
            <a:xfrm>
              <a:off x="6592631" y="4032375"/>
              <a:ext cx="311848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② 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처리 과정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그래프 자동 생성 및 저장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28BBF6A4-56ED-6FDF-346B-2F6F5D736DAB}"/>
                </a:ext>
              </a:extLst>
            </p:cNvPr>
            <p:cNvSpPr>
              <a:spLocks/>
            </p:cNvSpPr>
            <p:nvPr/>
          </p:nvSpPr>
          <p:spPr>
            <a:xfrm>
              <a:off x="6198023" y="4340669"/>
              <a:ext cx="3907704" cy="139251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1025" name="그룹 1024">
              <a:extLst>
                <a:ext uri="{FF2B5EF4-FFF2-40B4-BE49-F238E27FC236}">
                  <a16:creationId xmlns:a16="http://schemas.microsoft.com/office/drawing/2014/main" id="{9763E66E-0CDC-313D-8F9B-5ACFAF39B630}"/>
                </a:ext>
              </a:extLst>
            </p:cNvPr>
            <p:cNvGrpSpPr/>
            <p:nvPr/>
          </p:nvGrpSpPr>
          <p:grpSpPr>
            <a:xfrm>
              <a:off x="6311475" y="4495034"/>
              <a:ext cx="3680801" cy="1083783"/>
              <a:chOff x="6247492" y="4535551"/>
              <a:chExt cx="3680801" cy="1083783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C4F0105E-9093-6458-3F50-DBB183CCF9EE}"/>
                  </a:ext>
                </a:extLst>
              </p:cNvPr>
              <p:cNvSpPr txBox="1"/>
              <p:nvPr/>
            </p:nvSpPr>
            <p:spPr>
              <a:xfrm>
                <a:off x="6247492" y="5250002"/>
                <a:ext cx="9356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ataFram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B6D23D1A-E0B6-03C7-B7CA-3E10F9DAE1B5}"/>
                  </a:ext>
                </a:extLst>
              </p:cNvPr>
              <p:cNvSpPr txBox="1"/>
              <p:nvPr/>
            </p:nvSpPr>
            <p:spPr>
              <a:xfrm>
                <a:off x="8305934" y="5250002"/>
                <a:ext cx="636588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dirty="0"/>
                  <a:t>graph</a:t>
                </a:r>
                <a:endParaRPr lang="ko-KR" altLang="en-US" sz="1200" dirty="0"/>
              </a:p>
            </p:txBody>
          </p:sp>
          <p:pic>
            <p:nvPicPr>
              <p:cNvPr id="90" name="Picture 22">
                <a:extLst>
                  <a:ext uri="{FF2B5EF4-FFF2-40B4-BE49-F238E27FC236}">
                    <a16:creationId xmlns:a16="http://schemas.microsoft.com/office/drawing/2014/main" id="{0B22947A-19C5-2937-5804-14683376EA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6468198" y="4563211"/>
                <a:ext cx="494191" cy="55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44CDC6B-F500-026A-8C90-E324EF8F33A0}"/>
                  </a:ext>
                </a:extLst>
              </p:cNvPr>
              <p:cNvSpPr txBox="1"/>
              <p:nvPr/>
            </p:nvSpPr>
            <p:spPr>
              <a:xfrm>
                <a:off x="7176802" y="5157669"/>
                <a:ext cx="97255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b="1" dirty="0" err="1"/>
                  <a:t>wc</a:t>
                </a:r>
                <a:r>
                  <a:rPr lang="ko-KR" altLang="en-US" sz="1200" b="1" dirty="0"/>
                  <a:t>함수</a:t>
                </a:r>
                <a:endParaRPr lang="en-US" altLang="ko-KR" sz="1200" b="1" dirty="0"/>
              </a:p>
              <a:p>
                <a:r>
                  <a:rPr lang="en-US" altLang="ko-KR" sz="1200" b="1" dirty="0" err="1"/>
                  <a:t>bar_wc</a:t>
                </a:r>
                <a:r>
                  <a:rPr lang="ko-KR" altLang="en-US" sz="1200" b="1" dirty="0"/>
                  <a:t>함수</a:t>
                </a:r>
              </a:p>
            </p:txBody>
          </p:sp>
          <p:pic>
            <p:nvPicPr>
              <p:cNvPr id="93" name="Picture 8" descr="Python file symbol - Free interface icons">
                <a:hlinkClick r:id="rId10" action="ppaction://hlinkfile"/>
                <a:extLst>
                  <a:ext uri="{FF2B5EF4-FFF2-40B4-BE49-F238E27FC236}">
                    <a16:creationId xmlns:a16="http://schemas.microsoft.com/office/drawing/2014/main" id="{AB4E4948-70C5-8AD6-6170-059E0E99AE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82" r="12054"/>
              <a:stretch/>
            </p:blipFill>
            <p:spPr bwMode="auto">
              <a:xfrm>
                <a:off x="7438005" y="4542814"/>
                <a:ext cx="450147" cy="5972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삼각형 1">
                <a:extLst>
                  <a:ext uri="{FF2B5EF4-FFF2-40B4-BE49-F238E27FC236}">
                    <a16:creationId xmlns:a16="http://schemas.microsoft.com/office/drawing/2014/main" id="{D63BAC65-E473-70F9-3B7E-B170EF64C6E7}"/>
                  </a:ext>
                </a:extLst>
              </p:cNvPr>
              <p:cNvSpPr/>
              <p:nvPr/>
            </p:nvSpPr>
            <p:spPr>
              <a:xfrm rot="5400000">
                <a:off x="6881711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5" name="삼각형 1">
                <a:extLst>
                  <a:ext uri="{FF2B5EF4-FFF2-40B4-BE49-F238E27FC236}">
                    <a16:creationId xmlns:a16="http://schemas.microsoft.com/office/drawing/2014/main" id="{BBEB6E23-6CF0-CAD2-29C5-805F854E4FA2}"/>
                  </a:ext>
                </a:extLst>
              </p:cNvPr>
              <p:cNvSpPr/>
              <p:nvPr/>
            </p:nvSpPr>
            <p:spPr>
              <a:xfrm rot="5400000">
                <a:off x="7782322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E71D479B-9EB0-FB9A-2B9C-A7B17DDC650A}"/>
                  </a:ext>
                </a:extLst>
              </p:cNvPr>
              <p:cNvSpPr txBox="1"/>
              <p:nvPr/>
            </p:nvSpPr>
            <p:spPr>
              <a:xfrm>
                <a:off x="9289264" y="5250002"/>
                <a:ext cx="639029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imag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98" name="삼각형 1">
                <a:extLst>
                  <a:ext uri="{FF2B5EF4-FFF2-40B4-BE49-F238E27FC236}">
                    <a16:creationId xmlns:a16="http://schemas.microsoft.com/office/drawing/2014/main" id="{9A805AF5-25AB-F638-C3E6-B1F9BD4F1DEA}"/>
                  </a:ext>
                </a:extLst>
              </p:cNvPr>
              <p:cNvSpPr/>
              <p:nvPr/>
            </p:nvSpPr>
            <p:spPr>
              <a:xfrm rot="5400000">
                <a:off x="8868595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D85E9BA1-79AD-CCEE-6632-4FC90A4884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63" t="15339" r="18258" b="15345"/>
              <a:stretch/>
            </p:blipFill>
            <p:spPr bwMode="auto">
              <a:xfrm>
                <a:off x="8306324" y="4561291"/>
                <a:ext cx="635809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45F96135-8E36-8581-0BED-5107892D42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00" t="4840" r="14239" b="3641"/>
              <a:stretch/>
            </p:blipFill>
            <p:spPr bwMode="auto">
              <a:xfrm>
                <a:off x="9388180" y="4561292"/>
                <a:ext cx="441197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2815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④ </a:t>
            </a:r>
            <a:r>
              <a:rPr lang="ko-KR" altLang="en-US" dirty="0" err="1"/>
              <a:t>백엔드</a:t>
            </a:r>
            <a:endParaRPr lang="ko-KR" altLang="en-US" dirty="0"/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④ 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백엔드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EFA8D42-30DF-2753-7AAA-807E8B766BC6}"/>
              </a:ext>
            </a:extLst>
          </p:cNvPr>
          <p:cNvGrpSpPr/>
          <p:nvPr/>
        </p:nvGrpSpPr>
        <p:grpSpPr>
          <a:xfrm>
            <a:off x="635339" y="606813"/>
            <a:ext cx="2729338" cy="1469615"/>
            <a:chOff x="635339" y="606813"/>
            <a:chExt cx="2729338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2599682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3054511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35E2F5B6-CFDC-7B5D-5F00-54F70125A4E5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71CECE96-A379-947D-7861-AC181DF2EC44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819325CE-54B7-3EC6-48DF-03A32E0FC262}"/>
              </a:ext>
            </a:extLst>
          </p:cNvPr>
          <p:cNvSpPr/>
          <p:nvPr/>
        </p:nvSpPr>
        <p:spPr>
          <a:xfrm>
            <a:off x="4578932" y="812651"/>
            <a:ext cx="1001366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D8F4613-DB17-9F9B-633A-43B9D025A9B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B3B36576-B6A6-5CC7-D662-D6EAD603805C}"/>
              </a:ext>
            </a:extLst>
          </p:cNvPr>
          <p:cNvSpPr txBox="1"/>
          <p:nvPr/>
        </p:nvSpPr>
        <p:spPr>
          <a:xfrm>
            <a:off x="4865804" y="855883"/>
            <a:ext cx="646192" cy="2928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백엔드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E83B44AD-9170-6038-73B7-5489DE97B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1241AD86-42E3-E507-8B74-ED77042825C7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CE017107-09AE-47A6-7845-5B19024C8935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6A72861-3DE3-61FE-03AA-D259E99B9424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삼각형 1">
            <a:extLst>
              <a:ext uri="{FF2B5EF4-FFF2-40B4-BE49-F238E27FC236}">
                <a16:creationId xmlns:a16="http://schemas.microsoft.com/office/drawing/2014/main" id="{21A23BEC-1DB6-82AE-3D91-143E312CC7B1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삼각형 1">
            <a:extLst>
              <a:ext uri="{FF2B5EF4-FFF2-40B4-BE49-F238E27FC236}">
                <a16:creationId xmlns:a16="http://schemas.microsoft.com/office/drawing/2014/main" id="{14078465-095E-B2B5-3632-247E5F94929D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E016C6-7546-038D-90F5-11CE1A1C7843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B4389-7392-D3D6-E9AF-A9BA83AE367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6204488" y="2104854"/>
            <a:ext cx="3907704" cy="1516441"/>
            <a:chOff x="6204488" y="2104854"/>
            <a:chExt cx="3907704" cy="1516441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1DEF6B95-961E-EBA2-20C8-CDB1BA555662}"/>
                </a:ext>
              </a:extLst>
            </p:cNvPr>
            <p:cNvSpPr>
              <a:spLocks/>
            </p:cNvSpPr>
            <p:nvPr/>
          </p:nvSpPr>
          <p:spPr>
            <a:xfrm>
              <a:off x="6204488" y="2104854"/>
              <a:ext cx="3907704" cy="1516441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64653A7-86A2-E5B0-3DBA-9943FA772BB0}"/>
                </a:ext>
              </a:extLst>
            </p:cNvPr>
            <p:cNvSpPr txBox="1"/>
            <p:nvPr/>
          </p:nvSpPr>
          <p:spPr>
            <a:xfrm>
              <a:off x="6287188" y="2124410"/>
              <a:ext cx="3742304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페이지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 기준 분류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</a:p>
            <a:p>
              <a:pPr>
                <a:lnSpc>
                  <a:spcPct val="150000"/>
                </a:lnSpc>
              </a:pP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별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사건 분류 최적화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자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위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 별로 북한 도발 사건 분류 및 배포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A3817C0-FF0C-16C6-DF36-441B66E00489}"/>
              </a:ext>
            </a:extLst>
          </p:cNvPr>
          <p:cNvSpPr txBox="1"/>
          <p:nvPr/>
        </p:nvSpPr>
        <p:spPr>
          <a:xfrm>
            <a:off x="7184975" y="1771665"/>
            <a:ext cx="1946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en-US" altLang="ko-KR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75C781-6B9E-D47F-69D4-6988F8A2A4B8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A12260-6170-B4DE-7A42-66F591C5D080}"/>
              </a:ext>
            </a:extLst>
          </p:cNvPr>
          <p:cNvSpPr txBox="1"/>
          <p:nvPr/>
        </p:nvSpPr>
        <p:spPr>
          <a:xfrm>
            <a:off x="7183707" y="3873568"/>
            <a:ext cx="19363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동 배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DCDA30F-314E-304D-9037-22D7153080AF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4" name="사각형: 둥근 모서리 79">
            <a:extLst>
              <a:ext uri="{FF2B5EF4-FFF2-40B4-BE49-F238E27FC236}">
                <a16:creationId xmlns:a16="http://schemas.microsoft.com/office/drawing/2014/main" id="{B4AEF398-B717-DA93-24DF-B1AF74056327}"/>
              </a:ext>
            </a:extLst>
          </p:cNvPr>
          <p:cNvSpPr/>
          <p:nvPr/>
        </p:nvSpPr>
        <p:spPr>
          <a:xfrm>
            <a:off x="796992" y="3066540"/>
            <a:ext cx="2221199" cy="962997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29F2C715-82DB-3A21-E1AE-FE7BF7EEE2EC}"/>
              </a:ext>
            </a:extLst>
          </p:cNvPr>
          <p:cNvGrpSpPr/>
          <p:nvPr/>
        </p:nvGrpSpPr>
        <p:grpSpPr>
          <a:xfrm>
            <a:off x="877724" y="4239202"/>
            <a:ext cx="1025959" cy="765374"/>
            <a:chOff x="9261791" y="2448462"/>
            <a:chExt cx="908884" cy="685165"/>
          </a:xfrm>
        </p:grpSpPr>
        <p:pic>
          <p:nvPicPr>
            <p:cNvPr id="76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36AA4534-308E-0C40-57A6-ED4BBF584A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7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BB0101CB-90F5-AD73-86F1-16570779E4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CF8BF987-E7DD-94DA-F7DD-D2521DEFEF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DEFA501A-266E-9976-3D70-300B99E7E6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8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2AA1029C-8893-9323-B928-8C5A762182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E49FFD1-9FE7-2A8A-2008-8061D7ECABDB}"/>
              </a:ext>
            </a:extLst>
          </p:cNvPr>
          <p:cNvGrpSpPr/>
          <p:nvPr/>
        </p:nvGrpSpPr>
        <p:grpSpPr>
          <a:xfrm>
            <a:off x="796992" y="3150838"/>
            <a:ext cx="1063271" cy="794401"/>
            <a:chOff x="3374417" y="2297265"/>
            <a:chExt cx="941938" cy="711150"/>
          </a:xfrm>
        </p:grpSpPr>
        <p:pic>
          <p:nvPicPr>
            <p:cNvPr id="82" name="Picture 18" descr="Python (programming language) - Wikipedia">
              <a:extLst>
                <a:ext uri="{FF2B5EF4-FFF2-40B4-BE49-F238E27FC236}">
                  <a16:creationId xmlns:a16="http://schemas.microsoft.com/office/drawing/2014/main" id="{69B5AF55-32B4-FCB8-E4E4-E7D3ED1FC9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B12D2CD-E77E-1D9F-5CA5-E8B15E108DF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1965A17B-EB9D-3E99-74A4-EC3FEBDE8027}"/>
              </a:ext>
            </a:extLst>
          </p:cNvPr>
          <p:cNvSpPr txBox="1"/>
          <p:nvPr/>
        </p:nvSpPr>
        <p:spPr>
          <a:xfrm>
            <a:off x="1954919" y="3086373"/>
            <a:ext cx="1063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5" name="Picture 32">
            <a:extLst>
              <a:ext uri="{FF2B5EF4-FFF2-40B4-BE49-F238E27FC236}">
                <a16:creationId xmlns:a16="http://schemas.microsoft.com/office/drawing/2014/main" id="{DD3F5E5A-29B1-7A9C-AC62-48BFBB9AA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2277067" y="4245657"/>
            <a:ext cx="741125" cy="7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6">
            <a:extLst>
              <a:ext uri="{FF2B5EF4-FFF2-40B4-BE49-F238E27FC236}">
                <a16:creationId xmlns:a16="http://schemas.microsoft.com/office/drawing/2014/main" id="{BE3B7B74-E49F-5ED5-67F6-82DBE2B70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1475508" y="5354347"/>
            <a:ext cx="864169" cy="82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EB17DC9-BA33-A721-8D6F-B12AF036AAA7}"/>
              </a:ext>
            </a:extLst>
          </p:cNvPr>
          <p:cNvSpPr txBox="1"/>
          <p:nvPr/>
        </p:nvSpPr>
        <p:spPr>
          <a:xfrm>
            <a:off x="1138880" y="2658658"/>
            <a:ext cx="1537425" cy="343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4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400" b="1" u="sng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84A6028-7208-A415-44CC-D73C03477079}"/>
              </a:ext>
            </a:extLst>
          </p:cNvPr>
          <p:cNvSpPr txBox="1"/>
          <p:nvPr/>
        </p:nvSpPr>
        <p:spPr>
          <a:xfrm>
            <a:off x="10760417" y="1771665"/>
            <a:ext cx="6645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류</a:t>
            </a:r>
            <a:endParaRPr lang="ko-KR" altLang="en-US" sz="1400" dirty="0"/>
          </a:p>
        </p:txBody>
      </p:sp>
      <p:sp>
        <p:nvSpPr>
          <p:cNvPr id="100" name="Trapezoid 286">
            <a:extLst>
              <a:ext uri="{FF2B5EF4-FFF2-40B4-BE49-F238E27FC236}">
                <a16:creationId xmlns:a16="http://schemas.microsoft.com/office/drawing/2014/main" id="{547E7A81-B1AF-381A-D7BF-92D6A654F3B6}"/>
              </a:ext>
            </a:extLst>
          </p:cNvPr>
          <p:cNvSpPr/>
          <p:nvPr/>
        </p:nvSpPr>
        <p:spPr>
          <a:xfrm>
            <a:off x="10694488" y="2790865"/>
            <a:ext cx="797406" cy="247647"/>
          </a:xfrm>
          <a:prstGeom prst="trapezoid">
            <a:avLst>
              <a:gd name="adj" fmla="val 3019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EB8B637-1CB3-E3F9-E73E-DAC02BEF9BFF}"/>
              </a:ext>
            </a:extLst>
          </p:cNvPr>
          <p:cNvSpPr>
            <a:spLocks/>
          </p:cNvSpPr>
          <p:nvPr/>
        </p:nvSpPr>
        <p:spPr>
          <a:xfrm>
            <a:off x="10694488" y="3036805"/>
            <a:ext cx="797406" cy="3015651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590072" y="5675419"/>
            <a:ext cx="3123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cal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http://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localhost:8501</a:t>
            </a:r>
            <a:endParaRPr lang="en-US" altLang="ko-KR" sz="12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Network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h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ttp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//192.168.71.245:8501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784108" y="2334374"/>
            <a:ext cx="859889" cy="931876"/>
            <a:chOff x="4784108" y="2157244"/>
            <a:chExt cx="859889" cy="9318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923D327-BDCE-4ED7-3B14-167E4FC6FF5F}"/>
                </a:ext>
              </a:extLst>
            </p:cNvPr>
            <p:cNvSpPr txBox="1"/>
            <p:nvPr/>
          </p:nvSpPr>
          <p:spPr>
            <a:xfrm>
              <a:off x="4784108" y="2827510"/>
              <a:ext cx="85988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1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 smtClean="0"/>
                <a:t>Local </a:t>
              </a:r>
              <a:r>
                <a:rPr lang="en-US" altLang="ko-KR" dirty="0"/>
                <a:t>URL</a:t>
              </a:r>
              <a:endParaRPr lang="ko-KR" altLang="en-US" dirty="0"/>
            </a:p>
          </p:txBody>
        </p:sp>
        <p:pic>
          <p:nvPicPr>
            <p:cNvPr id="1026" name="Picture 2" descr="Url - Free web icons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418" y="2157244"/>
              <a:ext cx="667269" cy="667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/>
          <p:cNvGrpSpPr/>
          <p:nvPr/>
        </p:nvGrpSpPr>
        <p:grpSpPr>
          <a:xfrm>
            <a:off x="4812015" y="4411552"/>
            <a:ext cx="804074" cy="1162822"/>
            <a:chOff x="4812015" y="3476434"/>
            <a:chExt cx="804074" cy="1162822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9FDD66-5394-B9EE-7126-3A1C38930591}"/>
                </a:ext>
              </a:extLst>
            </p:cNvPr>
            <p:cNvSpPr txBox="1"/>
            <p:nvPr/>
          </p:nvSpPr>
          <p:spPr>
            <a:xfrm>
              <a:off x="4812015" y="4208369"/>
              <a:ext cx="80407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Network URL</a:t>
              </a:r>
              <a:endParaRPr lang="ko-KR" altLang="en-US" sz="1100" dirty="0"/>
            </a:p>
          </p:txBody>
        </p:sp>
        <p:pic>
          <p:nvPicPr>
            <p:cNvPr id="28" name="그림 27"/>
            <p:cNvPicPr>
              <a:picLocks noChangeAspect="1"/>
            </p:cNvPicPr>
            <p:nvPr/>
          </p:nvPicPr>
          <p:blipFill rotWithShape="1">
            <a:blip r:embed="rId12"/>
            <a:srcRect l="29628" t="27038" r="22886" b="22866"/>
            <a:stretch/>
          </p:blipFill>
          <p:spPr>
            <a:xfrm>
              <a:off x="4894124" y="3476434"/>
              <a:ext cx="639856" cy="728360"/>
            </a:xfrm>
            <a:prstGeom prst="rect">
              <a:avLst/>
            </a:prstGeom>
          </p:spPr>
        </p:pic>
      </p:grpSp>
      <p:grpSp>
        <p:nvGrpSpPr>
          <p:cNvPr id="57" name="그룹 56"/>
          <p:cNvGrpSpPr/>
          <p:nvPr/>
        </p:nvGrpSpPr>
        <p:grpSpPr>
          <a:xfrm>
            <a:off x="6211944" y="4374462"/>
            <a:ext cx="3879863" cy="1007313"/>
            <a:chOff x="6220134" y="4382393"/>
            <a:chExt cx="3879863" cy="100731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F57CB6-B3EE-F3FE-E2ED-2AC61CB23CB0}"/>
                </a:ext>
              </a:extLst>
            </p:cNvPr>
            <p:cNvSpPr txBox="1"/>
            <p:nvPr/>
          </p:nvSpPr>
          <p:spPr>
            <a:xfrm>
              <a:off x="6220134" y="5096844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8172186" y="5096844"/>
              <a:ext cx="81993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webpage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47D85CCE-3FBB-0817-1A0A-73DA0A8D41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40840" y="4410053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FCA4509-5CBD-E85E-4051-4F651A15C53C}"/>
                </a:ext>
              </a:extLst>
            </p:cNvPr>
            <p:cNvSpPr txBox="1"/>
            <p:nvPr/>
          </p:nvSpPr>
          <p:spPr>
            <a:xfrm>
              <a:off x="7160452" y="5096844"/>
              <a:ext cx="8667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treamlit</a:t>
              </a:r>
              <a:endParaRPr lang="ko-KR" altLang="en-US" sz="1200" b="1" dirty="0"/>
            </a:p>
          </p:txBody>
        </p:sp>
        <p:pic>
          <p:nvPicPr>
            <p:cNvPr id="66" name="Picture 8" descr="Python file symbol - Free interface icons">
              <a:hlinkClick r:id="rId14" action="ppaction://hlinkfile"/>
              <a:extLst>
                <a:ext uri="{FF2B5EF4-FFF2-40B4-BE49-F238E27FC236}">
                  <a16:creationId xmlns:a16="http://schemas.microsoft.com/office/drawing/2014/main" id="{E7416872-060F-5DB7-B94F-7B9608D32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368737" y="4389656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삼각형 1">
              <a:extLst>
                <a:ext uri="{FF2B5EF4-FFF2-40B4-BE49-F238E27FC236}">
                  <a16:creationId xmlns:a16="http://schemas.microsoft.com/office/drawing/2014/main" id="{9DCEB6CD-C350-0097-1444-BFF1B6D1C680}"/>
                </a:ext>
              </a:extLst>
            </p:cNvPr>
            <p:cNvSpPr/>
            <p:nvPr/>
          </p:nvSpPr>
          <p:spPr>
            <a:xfrm rot="5400000">
              <a:off x="6857819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8" name="삼각형 1">
              <a:extLst>
                <a:ext uri="{FF2B5EF4-FFF2-40B4-BE49-F238E27FC236}">
                  <a16:creationId xmlns:a16="http://schemas.microsoft.com/office/drawing/2014/main" id="{95AA8D39-9F0D-B13A-E693-DF8ED05D4952}"/>
                </a:ext>
              </a:extLst>
            </p:cNvPr>
            <p:cNvSpPr/>
            <p:nvPr/>
          </p:nvSpPr>
          <p:spPr>
            <a:xfrm rot="5400000">
              <a:off x="77653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70" name="삼각형 1">
              <a:extLst>
                <a:ext uri="{FF2B5EF4-FFF2-40B4-BE49-F238E27FC236}">
                  <a16:creationId xmlns:a16="http://schemas.microsoft.com/office/drawing/2014/main" id="{BE88E36F-437F-931D-4527-35073D21D4BA}"/>
                </a:ext>
              </a:extLst>
            </p:cNvPr>
            <p:cNvSpPr/>
            <p:nvPr/>
          </p:nvSpPr>
          <p:spPr>
            <a:xfrm rot="5400000">
              <a:off x="88049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2058" name="Picture 10" descr="Download Pictogram, Web, Website. Royalty-Free Vector Graphic - Pixabay">
              <a:extLst>
                <a:ext uri="{FF2B5EF4-FFF2-40B4-BE49-F238E27FC236}">
                  <a16:creationId xmlns:a16="http://schemas.microsoft.com/office/drawing/2014/main" id="{CD9D1164-99A2-5DCF-CDFE-D28909BD2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1051" y="4409559"/>
              <a:ext cx="582204" cy="577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339573" y="4406755"/>
              <a:ext cx="563097" cy="563097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9142246" y="5112707"/>
              <a:ext cx="95775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 smtClean="0"/>
                <a:t>distribution</a:t>
              </a:r>
              <a:endParaRPr lang="ko-KR" altLang="en-US" sz="1200" dirty="0"/>
            </a:p>
          </p:txBody>
        </p:sp>
      </p:grpSp>
      <p:pic>
        <p:nvPicPr>
          <p:cNvPr id="110" name="Picture 22">
            <a:extLst>
              <a:ext uri="{FF2B5EF4-FFF2-40B4-BE49-F238E27FC236}">
                <a16:creationId xmlns:a16="http://schemas.microsoft.com/office/drawing/2014/main" id="{47D85CCE-3FBB-0817-1A0A-73DA0A8D41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10851767" y="2078819"/>
            <a:ext cx="494191" cy="55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B4F57CB6-B3EE-F3FE-E2ED-2AC61CB23CB0}"/>
              </a:ext>
            </a:extLst>
          </p:cNvPr>
          <p:cNvSpPr txBox="1"/>
          <p:nvPr/>
        </p:nvSpPr>
        <p:spPr>
          <a:xfrm>
            <a:off x="10631061" y="2579864"/>
            <a:ext cx="9356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10770241" y="3084430"/>
            <a:ext cx="645900" cy="642760"/>
            <a:chOff x="10720408" y="3164969"/>
            <a:chExt cx="734496" cy="730925"/>
          </a:xfrm>
        </p:grpSpPr>
        <p:sp>
          <p:nvSpPr>
            <p:cNvPr id="32" name="직사각형 31"/>
            <p:cNvSpPr/>
            <p:nvPr/>
          </p:nvSpPr>
          <p:spPr>
            <a:xfrm>
              <a:off x="10720408" y="3434229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1032" name="Picture 8" descr="Home - Free web icons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49" b="7638"/>
            <a:stretch/>
          </p:blipFill>
          <p:spPr bwMode="auto">
            <a:xfrm>
              <a:off x="10861303" y="3164969"/>
              <a:ext cx="452707" cy="378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그룹 52"/>
          <p:cNvGrpSpPr/>
          <p:nvPr/>
        </p:nvGrpSpPr>
        <p:grpSpPr>
          <a:xfrm>
            <a:off x="10732732" y="3716917"/>
            <a:ext cx="734496" cy="871103"/>
            <a:chOff x="10732732" y="3807730"/>
            <a:chExt cx="734496" cy="871103"/>
          </a:xfrm>
        </p:grpSpPr>
        <p:sp>
          <p:nvSpPr>
            <p:cNvPr id="93" name="직사각형 92"/>
            <p:cNvSpPr/>
            <p:nvPr/>
          </p:nvSpPr>
          <p:spPr>
            <a:xfrm>
              <a:off x="10732732" y="4217168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39" name="그림 38"/>
            <p:cNvPicPr>
              <a:picLocks noChangeAspect="1"/>
            </p:cNvPicPr>
            <p:nvPr/>
          </p:nvPicPr>
          <p:blipFill rotWithShape="1">
            <a:blip r:embed="rId19"/>
            <a:srcRect l="10489" r="13924"/>
            <a:stretch/>
          </p:blipFill>
          <p:spPr>
            <a:xfrm>
              <a:off x="10894513" y="3807730"/>
              <a:ext cx="397357" cy="525692"/>
            </a:xfrm>
            <a:prstGeom prst="rect">
              <a:avLst/>
            </a:prstGeom>
          </p:spPr>
        </p:pic>
      </p:grpSp>
      <p:grpSp>
        <p:nvGrpSpPr>
          <p:cNvPr id="54" name="그룹 53"/>
          <p:cNvGrpSpPr/>
          <p:nvPr/>
        </p:nvGrpSpPr>
        <p:grpSpPr>
          <a:xfrm>
            <a:off x="10786816" y="4577747"/>
            <a:ext cx="601447" cy="792003"/>
            <a:chOff x="10786816" y="4672633"/>
            <a:chExt cx="601447" cy="792003"/>
          </a:xfrm>
        </p:grpSpPr>
        <p:sp>
          <p:nvSpPr>
            <p:cNvPr id="106" name="직사각형 105"/>
            <p:cNvSpPr/>
            <p:nvPr/>
          </p:nvSpPr>
          <p:spPr>
            <a:xfrm>
              <a:off x="10786816" y="5002971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9" name="그림 48"/>
            <p:cNvPicPr>
              <a:picLocks noChangeAspect="1"/>
            </p:cNvPicPr>
            <p:nvPr/>
          </p:nvPicPr>
          <p:blipFill rotWithShape="1">
            <a:blip r:embed="rId20"/>
            <a:srcRect l="9404" t="7297" r="8154" b="14448"/>
            <a:stretch/>
          </p:blipFill>
          <p:spPr>
            <a:xfrm>
              <a:off x="10864159" y="4672633"/>
              <a:ext cx="458065" cy="469024"/>
            </a:xfrm>
            <a:prstGeom prst="rect">
              <a:avLst/>
            </a:prstGeom>
          </p:spPr>
        </p:pic>
      </p:grpSp>
      <p:grpSp>
        <p:nvGrpSpPr>
          <p:cNvPr id="55" name="그룹 54"/>
          <p:cNvGrpSpPr/>
          <p:nvPr/>
        </p:nvGrpSpPr>
        <p:grpSpPr>
          <a:xfrm>
            <a:off x="10797178" y="5359478"/>
            <a:ext cx="601447" cy="782281"/>
            <a:chOff x="10797178" y="5359478"/>
            <a:chExt cx="601447" cy="782281"/>
          </a:xfrm>
        </p:grpSpPr>
        <p:sp>
          <p:nvSpPr>
            <p:cNvPr id="107" name="직사각형 106"/>
            <p:cNvSpPr/>
            <p:nvPr/>
          </p:nvSpPr>
          <p:spPr>
            <a:xfrm>
              <a:off x="10797178" y="5680094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1" name="그림 50"/>
            <p:cNvPicPr>
              <a:picLocks noChangeAspect="1"/>
            </p:cNvPicPr>
            <p:nvPr/>
          </p:nvPicPr>
          <p:blipFill rotWithShape="1">
            <a:blip r:embed="rId21"/>
            <a:srcRect l="7266" t="6265" r="7693" b="5735"/>
            <a:stretch/>
          </p:blipFill>
          <p:spPr>
            <a:xfrm>
              <a:off x="10864158" y="5359478"/>
              <a:ext cx="467486" cy="4837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390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홈으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3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71678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대통령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1620206"/>
            <a:ext cx="2857779" cy="19664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6" y="1620205"/>
            <a:ext cx="2413491" cy="1966424"/>
          </a:xfrm>
          <a:prstGeom prst="roundRect">
            <a:avLst>
              <a:gd name="adj" fmla="val 4235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3902499"/>
            <a:ext cx="2857779" cy="21477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7" y="3902500"/>
            <a:ext cx="2413490" cy="2152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304066" y="3515645"/>
            <a:ext cx="817491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 설명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3515645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용된 연설문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177541" y="6024649"/>
            <a:ext cx="107054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워드클라우드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6024649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막대그래프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7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99565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지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482821" y="1517618"/>
            <a:ext cx="3370877" cy="41549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도클릭하면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도발 </a:t>
            </a:r>
            <a:r>
              <a:rPr lang="ko-KR" altLang="en-US" sz="14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명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지역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날짜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구현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6530594" y="2015524"/>
            <a:ext cx="5320643" cy="3871791"/>
            <a:chOff x="6530594" y="2223272"/>
            <a:chExt cx="5320643" cy="3871791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0594" y="2223274"/>
              <a:ext cx="2570990" cy="387178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 w="3175">
              <a:solidFill>
                <a:schemeClr val="tx1"/>
              </a:solidFill>
            </a:ln>
            <a:effectLst/>
          </p:spPr>
        </p:pic>
        <p:sp>
          <p:nvSpPr>
            <p:cNvPr id="20" name="Trapezoid 286">
              <a:extLst>
                <a:ext uri="{FF2B5EF4-FFF2-40B4-BE49-F238E27FC236}">
                  <a16:creationId xmlns:a16="http://schemas.microsoft.com/office/drawing/2014/main" id="{4E843245-A3D9-35DC-D625-C2F9CA7618DD}"/>
                </a:ext>
              </a:extLst>
            </p:cNvPr>
            <p:cNvSpPr/>
            <p:nvPr/>
          </p:nvSpPr>
          <p:spPr>
            <a:xfrm rot="16200000">
              <a:off x="7497217" y="3858665"/>
              <a:ext cx="3838576" cy="597993"/>
            </a:xfrm>
            <a:prstGeom prst="trapezoid">
              <a:avLst>
                <a:gd name="adj" fmla="val 190908"/>
              </a:avLst>
            </a:prstGeom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85000">
                  <a:schemeClr val="bg1">
                    <a:lumMod val="80000"/>
                    <a:alpha val="50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endParaRPr kumimoji="1"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사각형: 둥근 모서리 15">
              <a:extLst>
                <a:ext uri="{FF2B5EF4-FFF2-40B4-BE49-F238E27FC236}">
                  <a16:creationId xmlns:a16="http://schemas.microsoft.com/office/drawing/2014/main" id="{FFF537C7-B6AB-A73A-754D-948174174D23}"/>
                </a:ext>
              </a:extLst>
            </p:cNvPr>
            <p:cNvSpPr/>
            <p:nvPr/>
          </p:nvSpPr>
          <p:spPr>
            <a:xfrm>
              <a:off x="9715500" y="2223272"/>
              <a:ext cx="2135737" cy="3871789"/>
            </a:xfrm>
            <a:prstGeom prst="roundRect">
              <a:avLst>
                <a:gd name="adj" fmla="val 222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27" name="그룹 26"/>
            <p:cNvGrpSpPr/>
            <p:nvPr/>
          </p:nvGrpSpPr>
          <p:grpSpPr>
            <a:xfrm>
              <a:off x="9840176" y="4780270"/>
              <a:ext cx="1948202" cy="1215161"/>
              <a:chOff x="9840176" y="4780270"/>
              <a:chExt cx="1948202" cy="1215161"/>
            </a:xfrm>
          </p:grpSpPr>
          <p:pic>
            <p:nvPicPr>
              <p:cNvPr id="9" name="그림 8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478" t="17207" r="42064" b="28421"/>
              <a:stretch/>
            </p:blipFill>
            <p:spPr>
              <a:xfrm>
                <a:off x="10877951" y="4780270"/>
                <a:ext cx="910427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" name="그림 9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678" t="32550" r="38076" b="36596"/>
              <a:stretch/>
            </p:blipFill>
            <p:spPr>
              <a:xfrm>
                <a:off x="9840176" y="4780270"/>
                <a:ext cx="956488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pic>
          <p:nvPicPr>
            <p:cNvPr id="13" name="그림 1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07" t="29027" r="39820" b="26361"/>
            <a:stretch/>
          </p:blipFill>
          <p:spPr>
            <a:xfrm>
              <a:off x="10313494" y="3605489"/>
              <a:ext cx="910428" cy="107013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26" name="그룹 25"/>
            <p:cNvGrpSpPr/>
            <p:nvPr/>
          </p:nvGrpSpPr>
          <p:grpSpPr>
            <a:xfrm>
              <a:off x="9861870" y="2276061"/>
              <a:ext cx="1926509" cy="1224785"/>
              <a:chOff x="9861870" y="2276061"/>
              <a:chExt cx="1926509" cy="1224785"/>
            </a:xfrm>
          </p:grpSpPr>
          <p:pic>
            <p:nvPicPr>
              <p:cNvPr id="22" name="그림 21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689" t="63619" r="13674"/>
              <a:stretch/>
            </p:blipFill>
            <p:spPr>
              <a:xfrm>
                <a:off x="10877951" y="2276061"/>
                <a:ext cx="910428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" name="그림 22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674" t="21702" r="41632" b="52474"/>
              <a:stretch/>
            </p:blipFill>
            <p:spPr>
              <a:xfrm>
                <a:off x="9861870" y="2276061"/>
                <a:ext cx="913101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  <p:pic>
        <p:nvPicPr>
          <p:cNvPr id="29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711161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날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12092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753E8C3A-EFE7-39FE-E159-BDB6AEA43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81117" y="3532326"/>
            <a:ext cx="11629766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280140" y="1035466"/>
            <a:ext cx="1163172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344652-B0AA-FB29-4126-4FFAAEB8018F}"/>
              </a:ext>
            </a:extLst>
          </p:cNvPr>
          <p:cNvSpPr txBox="1"/>
          <p:nvPr/>
        </p:nvSpPr>
        <p:spPr>
          <a:xfrm>
            <a:off x="316241" y="1683352"/>
            <a:ext cx="1155951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 대남 도발의 원인에는 내부 정치적 이유나 경제적 압박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제 사회에 대한 주목도를 높이거나 국제적인 지원을 받기 위해 주변 </a:t>
            </a:r>
            <a:r>
              <a:rPr lang="ko-KR" alt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가들과의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긴장 관계를 유지하고자 하는 경우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내 안보를 강화하거나 주민들의 지지를 확보하는 데에도 사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즉 여러 가지 이유가 복합적으로 적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따라서 연설문 분석 만으로 북한과의 대북 갈등 원인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남 도발 이유를 정확하게 파악하기는 어렵습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5502675" y="1035466"/>
            <a:ext cx="1186650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2343030" y="3230574"/>
            <a:ext cx="7505940" cy="2949172"/>
            <a:chOff x="2267753" y="3230574"/>
            <a:chExt cx="7505940" cy="2949172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3"/>
            <a:srcRect l="17737" t="13450" r="20316" b="12158"/>
            <a:stretch/>
          </p:blipFill>
          <p:spPr>
            <a:xfrm>
              <a:off x="5789903" y="3992260"/>
              <a:ext cx="1055440" cy="1267482"/>
            </a:xfrm>
            <a:prstGeom prst="rect">
              <a:avLst/>
            </a:prstGeom>
          </p:spPr>
        </p:pic>
        <p:pic>
          <p:nvPicPr>
            <p:cNvPr id="2056" name="Picture 8" descr="Korea Icons - Free SVG &amp; PNG Korea Images - Noun Projec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53" y="3230574"/>
              <a:ext cx="2949172" cy="29491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그룹 20"/>
            <p:cNvGrpSpPr/>
            <p:nvPr/>
          </p:nvGrpSpPr>
          <p:grpSpPr>
            <a:xfrm>
              <a:off x="7418320" y="3230574"/>
              <a:ext cx="2355373" cy="2949172"/>
              <a:chOff x="7418320" y="3230574"/>
              <a:chExt cx="2355373" cy="2949172"/>
            </a:xfrm>
          </p:grpSpPr>
          <p:pic>
            <p:nvPicPr>
              <p:cNvPr id="2058" name="Picture 10" descr="Kim Jong-un Icon - Free PNG &amp; SVG 105058 - Noun Project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8320" y="3230574"/>
                <a:ext cx="1267482" cy="12674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그림 1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63653" y="4169706"/>
                <a:ext cx="2010040" cy="201004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0538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결론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209466" y="1035466"/>
            <a:ext cx="11759199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3" name="Picture 7" descr="C:\Users\Administrator\Desktop\02.PNG">
            <a:extLst>
              <a:ext uri="{FF2B5EF4-FFF2-40B4-BE49-F238E27FC236}">
                <a16:creationId xmlns:a16="http://schemas.microsoft.com/office/drawing/2014/main" id="{9117915F-BB18-556D-5807-FBA960AFE7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3532326"/>
            <a:ext cx="11736452" cy="2852894"/>
          </a:xfrm>
          <a:prstGeom prst="roundRect">
            <a:avLst>
              <a:gd name="adj" fmla="val 6478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5677287" y="1035466"/>
            <a:ext cx="823556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F3EFC5-0054-3886-2C8C-5BAA956D5CDE}"/>
              </a:ext>
            </a:extLst>
          </p:cNvPr>
          <p:cNvSpPr txBox="1"/>
          <p:nvPr/>
        </p:nvSpPr>
        <p:spPr>
          <a:xfrm>
            <a:off x="2900527" y="1515374"/>
            <a:ext cx="63770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통령 연설문 중 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“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평화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”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단어 출현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빈도高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북한 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도발 가능성 高</a:t>
            </a:r>
            <a:endParaRPr lang="ko-KR" altLang="en-US" b="1" u="sng" dirty="0"/>
          </a:p>
        </p:txBody>
      </p:sp>
      <p:grpSp>
        <p:nvGrpSpPr>
          <p:cNvPr id="20" name="그룹 19"/>
          <p:cNvGrpSpPr/>
          <p:nvPr/>
        </p:nvGrpSpPr>
        <p:grpSpPr>
          <a:xfrm>
            <a:off x="343454" y="2087727"/>
            <a:ext cx="11505092" cy="4140583"/>
            <a:chOff x="343454" y="2087727"/>
            <a:chExt cx="11505092" cy="4140583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AC1C203-10D2-7098-FECD-D40F4CCCD5D7}"/>
                </a:ext>
              </a:extLst>
            </p:cNvPr>
            <p:cNvGrpSpPr/>
            <p:nvPr/>
          </p:nvGrpSpPr>
          <p:grpSpPr>
            <a:xfrm>
              <a:off x="4869392" y="2799330"/>
              <a:ext cx="2453217" cy="2453217"/>
              <a:chOff x="8149962" y="2044048"/>
              <a:chExt cx="2453217" cy="2453217"/>
            </a:xfrm>
          </p:grpSpPr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AA47FA10-EA02-DBE6-5590-12F7A1F27793}"/>
                  </a:ext>
                </a:extLst>
              </p:cNvPr>
              <p:cNvSpPr/>
              <p:nvPr/>
            </p:nvSpPr>
            <p:spPr>
              <a:xfrm>
                <a:off x="8149962" y="2044048"/>
                <a:ext cx="2453217" cy="2453217"/>
              </a:xfrm>
              <a:prstGeom prst="ellipse">
                <a:avLst/>
              </a:prstGeom>
              <a:solidFill>
                <a:srgbClr val="0257B1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24AA968-4F8F-E0D9-851A-D72A4C5F125D}"/>
                  </a:ext>
                </a:extLst>
              </p:cNvPr>
              <p:cNvSpPr txBox="1"/>
              <p:nvPr/>
            </p:nvSpPr>
            <p:spPr>
              <a:xfrm>
                <a:off x="8573936" y="2670492"/>
                <a:ext cx="160526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</a:t>
                </a:r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북한 도발</a:t>
                </a:r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</a:p>
              <a:p>
                <a:pPr algn="ctr"/>
                <a:endParaRPr lang="en-US" altLang="ko-KR" sz="2400" b="1" dirty="0">
                  <a:solidFill>
                    <a:srgbClr val="FFFF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가능성 高</a:t>
                </a:r>
                <a:endParaRPr lang="ko-KR" altLang="en-US" sz="2400" dirty="0">
                  <a:solidFill>
                    <a:srgbClr val="FFFF00"/>
                  </a:solidFill>
                </a:endParaRPr>
              </a:p>
            </p:txBody>
          </p:sp>
        </p:grpSp>
        <p:grpSp>
          <p:nvGrpSpPr>
            <p:cNvPr id="6" name="그룹 5"/>
            <p:cNvGrpSpPr/>
            <p:nvPr/>
          </p:nvGrpSpPr>
          <p:grpSpPr>
            <a:xfrm>
              <a:off x="7535941" y="2087727"/>
              <a:ext cx="1295314" cy="4140583"/>
              <a:chOff x="7449684" y="1640052"/>
              <a:chExt cx="1295314" cy="4140583"/>
            </a:xfrm>
          </p:grpSpPr>
          <p:sp>
            <p:nvSpPr>
              <p:cNvPr id="43" name="타원 42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7449684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5" name="타원 44">
                <a:extLst>
                  <a:ext uri="{FF2B5EF4-FFF2-40B4-BE49-F238E27FC236}">
                    <a16:creationId xmlns:a16="http://schemas.microsoft.com/office/drawing/2014/main" id="{3A06C5AA-10D0-190F-AC4E-E11F4BEB3071}"/>
                  </a:ext>
                </a:extLst>
              </p:cNvPr>
              <p:cNvSpPr/>
              <p:nvPr/>
            </p:nvSpPr>
            <p:spPr>
              <a:xfrm>
                <a:off x="7449684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</p:grpSp>
        <p:pic>
          <p:nvPicPr>
            <p:cNvPr id="4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453495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453495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23E23DB2-B951-1384-CF98-0622ADF5686D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>
              <a:off x="7191448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D86771C9-BE7A-67BF-CD02-481FF251C1E4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V="1">
              <a:off x="7191448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26AB04E-7F2D-B720-0636-8B96B964A3BA}"/>
                </a:ext>
              </a:extLst>
            </p:cNvPr>
            <p:cNvSpPr txBox="1"/>
            <p:nvPr/>
          </p:nvSpPr>
          <p:spPr>
            <a:xfrm>
              <a:off x="7476638" y="2505417"/>
              <a:ext cx="1207856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민주주의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9" name="그룹 8"/>
            <p:cNvGrpSpPr/>
            <p:nvPr/>
          </p:nvGrpSpPr>
          <p:grpSpPr>
            <a:xfrm>
              <a:off x="3360746" y="2087727"/>
              <a:ext cx="1295314" cy="4140583"/>
              <a:chOff x="3447002" y="1640052"/>
              <a:chExt cx="1295314" cy="4140583"/>
            </a:xfrm>
          </p:grpSpPr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D9CE133B-24D7-E17E-0485-6B132AA2581B}"/>
                  </a:ext>
                </a:extLst>
              </p:cNvPr>
              <p:cNvSpPr/>
              <p:nvPr/>
            </p:nvSpPr>
            <p:spPr>
              <a:xfrm>
                <a:off x="3447002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4" name="타원 43">
                <a:extLst>
                  <a:ext uri="{FF2B5EF4-FFF2-40B4-BE49-F238E27FC236}">
                    <a16:creationId xmlns:a16="http://schemas.microsoft.com/office/drawing/2014/main" id="{F06ABB16-3F54-D869-0773-5B16372FFE2D}"/>
                  </a:ext>
                </a:extLst>
              </p:cNvPr>
              <p:cNvSpPr/>
              <p:nvPr/>
            </p:nvSpPr>
            <p:spPr>
              <a:xfrm>
                <a:off x="3447002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8239BB8-FF43-B3BC-5C62-25934090F677}"/>
                  </a:ext>
                </a:extLst>
              </p:cNvPr>
              <p:cNvSpPr txBox="1"/>
              <p:nvPr/>
            </p:nvSpPr>
            <p:spPr>
              <a:xfrm>
                <a:off x="3641703" y="2057742"/>
                <a:ext cx="905912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화</a:t>
                </a:r>
                <a:r>
                  <a:rPr lang="en-US" altLang="ko-KR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solidFill>
                    <a:srgbClr val="FF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042C37A0-2AB7-93C8-7F2E-644F1D128BAA}"/>
                  </a:ext>
                </a:extLst>
              </p:cNvPr>
              <p:cNvSpPr txBox="1"/>
              <p:nvPr/>
            </p:nvSpPr>
            <p:spPr>
              <a:xfrm>
                <a:off x="3634130" y="4903011"/>
                <a:ext cx="921058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경제</a:t>
                </a:r>
                <a:r>
                  <a:rPr lang="en-US" altLang="ko-KR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4D3680-C2BB-A7EF-396F-61F5E76C0F65}"/>
                </a:ext>
              </a:extLst>
            </p:cNvPr>
            <p:cNvSpPr txBox="1"/>
            <p:nvPr/>
          </p:nvSpPr>
          <p:spPr>
            <a:xfrm>
              <a:off x="7620037" y="5350686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9044587" y="3378281"/>
              <a:ext cx="1295314" cy="1295314"/>
              <a:chOff x="8936373" y="3078229"/>
              <a:chExt cx="1295314" cy="1295314"/>
            </a:xfrm>
          </p:grpSpPr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세계</a:t>
                </a:r>
                <a:r>
                  <a: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" name="그룹 4"/>
            <p:cNvGrpSpPr/>
            <p:nvPr/>
          </p:nvGrpSpPr>
          <p:grpSpPr>
            <a:xfrm>
              <a:off x="10553232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37" name="그룹 36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38" name="타원 37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나라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47" name="그룹 46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49" name="타원 4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기업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grpSp>
          <p:nvGrpSpPr>
            <p:cNvPr id="55" name="그룹 54"/>
            <p:cNvGrpSpPr/>
            <p:nvPr/>
          </p:nvGrpSpPr>
          <p:grpSpPr>
            <a:xfrm>
              <a:off x="1852100" y="3378281"/>
              <a:ext cx="1295314" cy="1295314"/>
              <a:chOff x="8936373" y="3078229"/>
              <a:chExt cx="1295314" cy="1295314"/>
            </a:xfrm>
          </p:grpSpPr>
          <p:sp>
            <p:nvSpPr>
              <p:cNvPr id="56" name="타원 55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정부</a:t>
                </a:r>
                <a:r>
                  <a: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8" name="그룹 57"/>
            <p:cNvGrpSpPr/>
            <p:nvPr/>
          </p:nvGrpSpPr>
          <p:grpSpPr>
            <a:xfrm>
              <a:off x="343454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61" name="그룹 60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9" name="타원 6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청년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65" name="그룹 64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7" name="타원 66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협력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pic>
          <p:nvPicPr>
            <p:cNvPr id="7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144963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144963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3006893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3006893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733141">
              <a:off x="10232824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422589" flipV="1">
              <a:off x="10233969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507048" flipV="1">
              <a:off x="8787581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140286">
              <a:off x="8788047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159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256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0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045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word cloud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X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367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word cloud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O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7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1660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378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1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  <a:endParaRPr lang="ko-KR" altLang="en-US" sz="16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048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직사각형 20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</a:t>
              </a:r>
            </a:p>
          </p:txBody>
        </p:sp>
      </p:grpSp>
      <p:sp>
        <p:nvSpPr>
          <p:cNvPr id="2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5547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881529" y="4254288"/>
            <a:ext cx="5267141" cy="7670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5" y="154272"/>
            <a:ext cx="93413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부록</a:t>
            </a:r>
          </a:p>
        </p:txBody>
      </p:sp>
      <p:sp>
        <p:nvSpPr>
          <p:cNvPr id="5" name="사각형: 둥근 모서리 15">
            <a:extLst>
              <a:ext uri="{FF2B5EF4-FFF2-40B4-BE49-F238E27FC236}">
                <a16:creationId xmlns:a16="http://schemas.microsoft.com/office/drawing/2014/main" id="{483755CE-DC43-9211-4460-49206C180004}"/>
              </a:ext>
            </a:extLst>
          </p:cNvPr>
          <p:cNvSpPr/>
          <p:nvPr/>
        </p:nvSpPr>
        <p:spPr>
          <a:xfrm>
            <a:off x="223334" y="734459"/>
            <a:ext cx="11745332" cy="1368661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006105" y="1260118"/>
            <a:ext cx="1017979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altLang="ko-KR" sz="3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ithub</a:t>
            </a: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https://github.com/LUJ95/YS.Proje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98A006-0938-017E-F74F-703B64704F7C}"/>
              </a:ext>
            </a:extLst>
          </p:cNvPr>
          <p:cNvSpPr txBox="1"/>
          <p:nvPr/>
        </p:nvSpPr>
        <p:spPr>
          <a:xfrm>
            <a:off x="5055112" y="734459"/>
            <a:ext cx="208177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깃허브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저장소</a:t>
            </a:r>
          </a:p>
        </p:txBody>
      </p:sp>
      <p:sp>
        <p:nvSpPr>
          <p:cNvPr id="9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79994" y="4292505"/>
            <a:ext cx="507021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2400" b="1" dirty="0" smtClean="0">
                <a:solidFill>
                  <a:srgbClr val="1E68D5"/>
                </a:solidFill>
              </a:rPr>
              <a:t>D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ta </a:t>
            </a:r>
            <a:r>
              <a:rPr lang="en-US" altLang="ko-KR" sz="2400" b="1" dirty="0">
                <a:solidFill>
                  <a:srgbClr val="1E68D5"/>
                </a:solidFill>
              </a:rPr>
              <a:t>A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alytics </a:t>
            </a:r>
            <a:r>
              <a:rPr lang="en-US" altLang="ko-KR" sz="2400" b="1" dirty="0">
                <a:solidFill>
                  <a:srgbClr val="1E68D5"/>
                </a:solidFill>
              </a:rPr>
              <a:t>P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ofessional </a:t>
            </a:r>
            <a:r>
              <a:rPr lang="en-US" altLang="ko-KR" sz="2400" b="1" dirty="0">
                <a:solidFill>
                  <a:srgbClr val="1E68D5"/>
                </a:solidFill>
              </a:rPr>
              <a:t>T</a:t>
            </a:r>
            <a:r>
              <a:rPr lang="en-US" altLang="ko-K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am</a:t>
            </a:r>
            <a:endParaRPr lang="en-US" altLang="ko-KR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0800000" flipV="1">
            <a:off x="3979994" y="3986151"/>
            <a:ext cx="5070210" cy="269965"/>
          </a:xfrm>
          <a:prstGeom prst="trapezoid">
            <a:avLst>
              <a:gd name="adj" fmla="val 617883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279080" y="2538679"/>
            <a:ext cx="2472038" cy="1590088"/>
            <a:chOff x="4881262" y="2681554"/>
            <a:chExt cx="3310237" cy="2129242"/>
          </a:xfrm>
        </p:grpSpPr>
        <p:pic>
          <p:nvPicPr>
            <p:cNvPr id="3074" name="Picture 2" descr="구름 - 무료 날씨개 아이콘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323" b="17354"/>
            <a:stretch/>
          </p:blipFill>
          <p:spPr bwMode="auto">
            <a:xfrm>
              <a:off x="4881262" y="2681554"/>
              <a:ext cx="3310237" cy="212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AVP on X: &quot;We are excited to announce the release of #ADCTest with  @librarycongress, an open source tool to automate the testing of audio  analog-to-digital converters! Special thanks to @fileformatology and  @cfle205 !!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13" t="26227" r="8200" b="25772"/>
            <a:stretch/>
          </p:blipFill>
          <p:spPr bwMode="auto">
            <a:xfrm>
              <a:off x="5486068" y="3424976"/>
              <a:ext cx="2100625" cy="11948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24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843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734459"/>
            <a:ext cx="11745332" cy="981459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34" y="769421"/>
            <a:ext cx="911535" cy="911535"/>
          </a:xfrm>
          <a:prstGeom prst="rect">
            <a:avLst/>
          </a:prstGeom>
        </p:spPr>
      </p:pic>
      <p:pic>
        <p:nvPicPr>
          <p:cNvPr id="1036" name="Picture 12" descr="문서 기호 - 무료 상호 작용개 아이콘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1" r="8892"/>
          <a:stretch/>
        </p:blipFill>
        <p:spPr bwMode="auto">
          <a:xfrm>
            <a:off x="1390650" y="960974"/>
            <a:ext cx="592016" cy="7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rth Korea - Free flags ic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337" y="835560"/>
            <a:ext cx="779256" cy="77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5"/>
          <a:srcRect l="3334" t="16262" r="3896" b="25555"/>
          <a:stretch/>
        </p:blipFill>
        <p:spPr>
          <a:xfrm flipH="1">
            <a:off x="9760004" y="1037216"/>
            <a:ext cx="1181454" cy="577600"/>
          </a:xfrm>
          <a:prstGeom prst="rect">
            <a:avLst/>
          </a:prstGeom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634041" cy="404431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배경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98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300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pic>
        <p:nvPicPr>
          <p:cNvPr id="269" name="그림 26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174944" y="1906144"/>
            <a:ext cx="5842112" cy="484357"/>
          </a:xfrm>
          <a:prstGeom prst="rect">
            <a:avLst/>
          </a:prstGeom>
        </p:spPr>
      </p:pic>
      <p:sp>
        <p:nvSpPr>
          <p:cNvPr id="243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680554" y="806241"/>
            <a:ext cx="6830893" cy="83789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o-KR" altLang="en-US" sz="2000" b="1" u="sng" dirty="0"/>
              <a:t>주제</a:t>
            </a:r>
            <a:endParaRPr lang="en-US" altLang="ko-KR" sz="2000" b="1" u="sng" dirty="0"/>
          </a:p>
          <a:p>
            <a:pPr algn="ctr">
              <a:lnSpc>
                <a:spcPct val="150000"/>
              </a:lnSpc>
            </a:pPr>
            <a:r>
              <a:rPr lang="ko-KR" altLang="en-US" sz="2000" b="1" dirty="0"/>
              <a:t>대통령 연설문 분석 </a:t>
            </a:r>
            <a:r>
              <a:rPr lang="en-US" altLang="ko-KR" sz="2000" b="1" dirty="0"/>
              <a:t>for </a:t>
            </a:r>
            <a:r>
              <a:rPr lang="ko-KR" altLang="en-US" sz="2000" b="1" dirty="0"/>
              <a:t>대북 갈등 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군사적 도발 및 충돌</a:t>
            </a:r>
            <a:r>
              <a:rPr lang="en-US" altLang="ko-KR" sz="2000" b="1" dirty="0"/>
              <a:t>, </a:t>
            </a:r>
            <a:r>
              <a:rPr lang="ko-KR" altLang="en-US" sz="2000" b="1" dirty="0"/>
              <a:t>민간 피해</a:t>
            </a:r>
            <a:r>
              <a:rPr lang="en-US" altLang="ko-KR" sz="2000" b="1" dirty="0"/>
              <a:t>)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9C70278-A971-C0FE-0984-433406D73B36}"/>
              </a:ext>
            </a:extLst>
          </p:cNvPr>
          <p:cNvGrpSpPr/>
          <p:nvPr/>
        </p:nvGrpSpPr>
        <p:grpSpPr>
          <a:xfrm>
            <a:off x="223334" y="2580728"/>
            <a:ext cx="11745332" cy="3845472"/>
            <a:chOff x="223334" y="2580728"/>
            <a:chExt cx="11745332" cy="3845472"/>
          </a:xfrm>
        </p:grpSpPr>
        <p:sp>
          <p:nvSpPr>
            <p:cNvPr id="245" name="사각형: 둥근 모서리 15">
              <a:extLst>
                <a:ext uri="{FF2B5EF4-FFF2-40B4-BE49-F238E27FC236}">
                  <a16:creationId xmlns:a16="http://schemas.microsoft.com/office/drawing/2014/main" id="{09A80C13-FABB-722C-22F7-1C45497C888E}"/>
                </a:ext>
              </a:extLst>
            </p:cNvPr>
            <p:cNvSpPr/>
            <p:nvPr/>
          </p:nvSpPr>
          <p:spPr>
            <a:xfrm>
              <a:off x="223334" y="2580728"/>
              <a:ext cx="11745332" cy="384547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354451" y="2580728"/>
              <a:ext cx="14830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제 선정 이유</a:t>
              </a:r>
            </a:p>
          </p:txBody>
        </p:sp>
        <p:pic>
          <p:nvPicPr>
            <p:cNvPr id="25" name="Picture 7" descr="C:\Users\Administrator\Desktop\02.PNG">
              <a:extLst>
                <a:ext uri="{FF2B5EF4-FFF2-40B4-BE49-F238E27FC236}">
                  <a16:creationId xmlns:a16="http://schemas.microsoft.com/office/drawing/2014/main" id="{4D9CB1CF-252D-CC9D-CFA2-D12376292E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0" t="66097" r="21454" b="17137"/>
            <a:stretch/>
          </p:blipFill>
          <p:spPr bwMode="auto">
            <a:xfrm>
              <a:off x="234694" y="4234649"/>
              <a:ext cx="11722613" cy="2191551"/>
            </a:xfrm>
            <a:prstGeom prst="roundRect">
              <a:avLst>
                <a:gd name="adj" fmla="val 17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26533" y="3086366"/>
              <a:ext cx="5035093" cy="3151877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2355618" y="3086366"/>
              <a:ext cx="1176925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개인 경험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6820889" y="3086366"/>
              <a:ext cx="5035093" cy="3151877"/>
              <a:chOff x="6526355" y="2994923"/>
              <a:chExt cx="5035093" cy="3151877"/>
            </a:xfrm>
          </p:grpSpPr>
          <p:sp>
            <p:nvSpPr>
              <p:cNvPr id="2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26355" y="2994923"/>
                <a:ext cx="5035093" cy="3151877"/>
              </a:xfrm>
              <a:prstGeom prst="roundRect">
                <a:avLst>
                  <a:gd name="adj" fmla="val 7061"/>
                </a:avLst>
              </a:pr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8455443" y="2994923"/>
                <a:ext cx="1176925" cy="33855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6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② 공부 목적</a:t>
                </a:r>
              </a:p>
            </p:txBody>
          </p:sp>
        </p:grpSp>
        <p:pic>
          <p:nvPicPr>
            <p:cNvPr id="37" name="Picture 2" descr="Xgrunge 문자 X 벡터 십자 기호 손으로 그린 X | 프리미엄 벡터">
              <a:extLst>
                <a:ext uri="{FF2B5EF4-FFF2-40B4-BE49-F238E27FC236}">
                  <a16:creationId xmlns:a16="http://schemas.microsoft.com/office/drawing/2014/main" id="{9A845CD0-6A44-8549-22AE-A9642C81D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73" t="7397" r="18197" b="8849"/>
            <a:stretch/>
          </p:blipFill>
          <p:spPr bwMode="auto">
            <a:xfrm>
              <a:off x="5690125" y="4099056"/>
              <a:ext cx="854474" cy="1126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그림 3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6E005DB5-0AC0-E1F0-3CE3-44394F286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1817136" y="5439920"/>
              <a:ext cx="2253887" cy="368758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DFD50EE3-0848-0F6D-24EE-3D58298204C7}"/>
                </a:ext>
              </a:extLst>
            </p:cNvPr>
            <p:cNvSpPr/>
            <p:nvPr/>
          </p:nvSpPr>
          <p:spPr>
            <a:xfrm>
              <a:off x="492927" y="5798812"/>
              <a:ext cx="4902304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설문 키워드를 추출해서 북한 도발 사전 예측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F00E9A94-658E-A415-BEC7-5E50E2B0E1F6}"/>
                </a:ext>
              </a:extLst>
            </p:cNvPr>
            <p:cNvSpPr/>
            <p:nvPr/>
          </p:nvSpPr>
          <p:spPr>
            <a:xfrm>
              <a:off x="7202274" y="5798812"/>
              <a:ext cx="42723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 환경에서 텍스트 데이터 마이닝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8" name="사각형: 둥근 모서리 79">
              <a:extLst>
                <a:ext uri="{FF2B5EF4-FFF2-40B4-BE49-F238E27FC236}">
                  <a16:creationId xmlns:a16="http://schemas.microsoft.com/office/drawing/2014/main" id="{7094210B-E0E5-91C2-1FFF-8D6BB559383B}"/>
                </a:ext>
              </a:extLst>
            </p:cNvPr>
            <p:cNvSpPr/>
            <p:nvPr/>
          </p:nvSpPr>
          <p:spPr>
            <a:xfrm>
              <a:off x="655263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BF9A0A38-03EF-3FA0-45E3-26E0DEFF0D19}"/>
                </a:ext>
              </a:extLst>
            </p:cNvPr>
            <p:cNvGrpSpPr/>
            <p:nvPr/>
          </p:nvGrpSpPr>
          <p:grpSpPr>
            <a:xfrm>
              <a:off x="811513" y="3537734"/>
              <a:ext cx="1667443" cy="1772599"/>
              <a:chOff x="850870" y="3537734"/>
              <a:chExt cx="1667443" cy="1772599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CD9B004E-C22E-9C51-0F96-E4DFCA67234A}"/>
                  </a:ext>
                </a:extLst>
              </p:cNvPr>
              <p:cNvSpPr/>
              <p:nvPr/>
            </p:nvSpPr>
            <p:spPr>
              <a:xfrm>
                <a:off x="850870" y="4787113"/>
                <a:ext cx="16674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 군생활 중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연평도 포격사건 발생</a:t>
                </a:r>
              </a:p>
            </p:txBody>
          </p:sp>
          <p:pic>
            <p:nvPicPr>
              <p:cNvPr id="1028" name="Picture 4" descr="김종대 “연평도 포격 당시 합참 장군들 양분돼 일주일 동안 옥신각신” | 중앙일보">
                <a:extLst>
                  <a:ext uri="{FF2B5EF4-FFF2-40B4-BE49-F238E27FC236}">
                    <a16:creationId xmlns:a16="http://schemas.microsoft.com/office/drawing/2014/main" id="{207A2D98-A3F2-445A-0C45-44963BB6AFCE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591" y="3872217"/>
                <a:ext cx="1638000" cy="952330"/>
              </a:xfrm>
              <a:prstGeom prst="roundRect">
                <a:avLst>
                  <a:gd name="adj" fmla="val 4251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99F6810-C6D7-15A9-F604-344DD22F0EDA}"/>
                  </a:ext>
                </a:extLst>
              </p:cNvPr>
              <p:cNvSpPr txBox="1"/>
              <p:nvPr/>
            </p:nvSpPr>
            <p:spPr>
              <a:xfrm>
                <a:off x="1231525" y="3537734"/>
                <a:ext cx="9061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400" b="1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0</a:t>
                </a:r>
                <a:r>
                  <a:rPr lang="ko-KR" altLang="en-US" sz="1400" b="1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년 </a:t>
                </a:r>
                <a:endParaRPr lang="ko-KR" altLang="en-US" sz="1400" dirty="0"/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2A37817-9991-196C-61AB-CC3C4D0C0EFC}"/>
                </a:ext>
              </a:extLst>
            </p:cNvPr>
            <p:cNvSpPr/>
            <p:nvPr/>
          </p:nvSpPr>
          <p:spPr>
            <a:xfrm>
              <a:off x="3480621" y="4787113"/>
              <a:ext cx="1553630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 군생활 중</a:t>
              </a:r>
              <a:endPara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</a:t>
              </a:r>
              <a:r>
                <a:rPr lang="ko-KR" altLang="en-US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뢰 사건 발생</a:t>
              </a:r>
            </a:p>
          </p:txBody>
        </p:sp>
        <p:pic>
          <p:nvPicPr>
            <p:cNvPr id="1026" name="Picture 2" descr="목함지뢰 폭발 사건 때 정부 컨트롤타워 不작동 - 시사매거진2580">
              <a:extLst>
                <a:ext uri="{FF2B5EF4-FFF2-40B4-BE49-F238E27FC236}">
                  <a16:creationId xmlns:a16="http://schemas.microsoft.com/office/drawing/2014/main" id="{A3D6E407-171A-D658-BBA3-84D971F9F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228" y="3872216"/>
              <a:ext cx="1638417" cy="952330"/>
            </a:xfrm>
            <a:prstGeom prst="roundRect">
              <a:avLst>
                <a:gd name="adj" fmla="val 4251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D2B-90A4-6E0A-C430-2CF5E50F573A}"/>
                </a:ext>
              </a:extLst>
            </p:cNvPr>
            <p:cNvSpPr txBox="1"/>
            <p:nvPr/>
          </p:nvSpPr>
          <p:spPr>
            <a:xfrm>
              <a:off x="3804370" y="3537734"/>
              <a:ext cx="9061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</a:t>
              </a:r>
              <a:endParaRPr lang="ko-KR" altLang="en-US" sz="1400" dirty="0"/>
            </a:p>
          </p:txBody>
        </p:sp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EDA9973B-0587-40F5-A094-F185CEFE0D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5509" r="3618" b="12798"/>
            <a:stretch/>
          </p:blipFill>
          <p:spPr bwMode="auto">
            <a:xfrm>
              <a:off x="2531821" y="4037289"/>
              <a:ext cx="824517" cy="787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7A992054-A975-DC0C-377D-3BA719072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r="5078"/>
            <a:stretch/>
          </p:blipFill>
          <p:spPr bwMode="auto">
            <a:xfrm>
              <a:off x="2764480" y="3571168"/>
              <a:ext cx="359199" cy="399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그림 3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163E850-AD86-2BCD-7728-2AA5DF445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8211492" y="5439920"/>
              <a:ext cx="2253887" cy="368758"/>
            </a:xfrm>
            <a:prstGeom prst="rect">
              <a:avLst/>
            </a:prstGeom>
          </p:spPr>
        </p:pic>
        <p:sp>
          <p:nvSpPr>
            <p:cNvPr id="34" name="사각형: 둥근 모서리 79">
              <a:extLst>
                <a:ext uri="{FF2B5EF4-FFF2-40B4-BE49-F238E27FC236}">
                  <a16:creationId xmlns:a16="http://schemas.microsoft.com/office/drawing/2014/main" id="{0FDC7FB1-2215-99AD-CA0E-59D202F3A457}"/>
                </a:ext>
              </a:extLst>
            </p:cNvPr>
            <p:cNvSpPr/>
            <p:nvPr/>
          </p:nvSpPr>
          <p:spPr>
            <a:xfrm>
              <a:off x="7049619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48C98F99-EE36-ED3F-C7DD-6E86F48F5DF4}"/>
                </a:ext>
              </a:extLst>
            </p:cNvPr>
            <p:cNvGrpSpPr/>
            <p:nvPr/>
          </p:nvGrpSpPr>
          <p:grpSpPr>
            <a:xfrm>
              <a:off x="7132122" y="3872216"/>
              <a:ext cx="4507356" cy="1438117"/>
              <a:chOff x="7132122" y="3872216"/>
              <a:chExt cx="4507356" cy="1438117"/>
            </a:xfrm>
          </p:grpSpPr>
          <p:pic>
            <p:nvPicPr>
              <p:cNvPr id="1042" name="Picture 18">
                <a:extLst>
                  <a:ext uri="{FF2B5EF4-FFF2-40B4-BE49-F238E27FC236}">
                    <a16:creationId xmlns:a16="http://schemas.microsoft.com/office/drawing/2014/main" id="{DAB0C5F7-A06D-E99E-B524-4C37E84E2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22342" y="3872216"/>
                <a:ext cx="1155214" cy="895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7D3E6CC9-DAD8-093B-7CCC-24F52F02BEEF}"/>
                  </a:ext>
                </a:extLst>
              </p:cNvPr>
              <p:cNvSpPr/>
              <p:nvPr/>
            </p:nvSpPr>
            <p:spPr>
              <a:xfrm>
                <a:off x="7132122" y="4787113"/>
                <a:ext cx="1535655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</a:t>
                </a:r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로 텍스트 마이닝</a:t>
                </a:r>
                <a:endParaRPr lang="en-US" altLang="ko-KR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학습 완료 및 구현</a:t>
                </a:r>
              </a:p>
            </p:txBody>
          </p:sp>
          <p:pic>
            <p:nvPicPr>
              <p:cNvPr id="1050" name="Picture 26" descr="Word Cloud Creation Tools — Cool Infographics">
                <a:extLst>
                  <a:ext uri="{FF2B5EF4-FFF2-40B4-BE49-F238E27FC236}">
                    <a16:creationId xmlns:a16="http://schemas.microsoft.com/office/drawing/2014/main" id="{951A3660-29DC-F09C-415D-21AE064D7B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972" b="23463"/>
              <a:stretch/>
            </p:blipFill>
            <p:spPr bwMode="auto">
              <a:xfrm>
                <a:off x="8645351" y="4052785"/>
                <a:ext cx="1386168" cy="7424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2" name="Picture 28" descr="파이썬 - 무료 심벌 마크개 아이콘">
                <a:extLst>
                  <a:ext uri="{FF2B5EF4-FFF2-40B4-BE49-F238E27FC236}">
                    <a16:creationId xmlns:a16="http://schemas.microsoft.com/office/drawing/2014/main" id="{BB9D5270-564C-41E0-669E-A796CC013F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7302" y="3872216"/>
                <a:ext cx="895131" cy="89513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BCE9B207-6EEA-6F4A-FFB5-08D23C1A1BD5}"/>
                  </a:ext>
                </a:extLst>
              </p:cNvPr>
              <p:cNvSpPr/>
              <p:nvPr/>
            </p:nvSpPr>
            <p:spPr>
              <a:xfrm>
                <a:off x="9950257" y="4787113"/>
                <a:ext cx="1689221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파이썬 패키지 함수로</a:t>
                </a:r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텍스트 분석 진행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8D7B46B-58FD-C8E6-1FAF-58FE86D1CC78}"/>
                  </a:ext>
                </a:extLst>
              </p:cNvPr>
              <p:cNvSpPr txBox="1"/>
              <p:nvPr/>
            </p:nvSpPr>
            <p:spPr>
              <a:xfrm>
                <a:off x="9091076" y="4971779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284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6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개요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254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255" name="그림 254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256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개요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cxnSp>
        <p:nvCxnSpPr>
          <p:cNvPr id="305" name="직선 연결선 30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5" idx="0"/>
            <a:endCxn id="265" idx="2"/>
          </p:cNvCxnSpPr>
          <p:nvPr/>
        </p:nvCxnSpPr>
        <p:spPr>
          <a:xfrm flipH="1" flipV="1">
            <a:off x="1897804" y="2479704"/>
            <a:ext cx="326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6687" y="1714128"/>
            <a:ext cx="2702233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352252" y="1927639"/>
            <a:ext cx="109110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집 대상</a:t>
            </a:r>
          </a:p>
        </p:txBody>
      </p:sp>
      <p:sp>
        <p:nvSpPr>
          <p:cNvPr id="28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5616" y="2823933"/>
            <a:ext cx="2705028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905526" y="2895653"/>
            <a:ext cx="198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이후 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대통령 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</a:p>
        </p:txBody>
      </p:sp>
      <p:grpSp>
        <p:nvGrpSpPr>
          <p:cNvPr id="1030" name="그룹 1029"/>
          <p:cNvGrpSpPr/>
          <p:nvPr/>
        </p:nvGrpSpPr>
        <p:grpSpPr>
          <a:xfrm>
            <a:off x="725998" y="2914638"/>
            <a:ext cx="393109" cy="504235"/>
            <a:chOff x="1695840" y="3564100"/>
            <a:chExt cx="899915" cy="1154308"/>
          </a:xfrm>
        </p:grpSpPr>
        <p:pic>
          <p:nvPicPr>
            <p:cNvPr id="1029" name="그림 1028"/>
            <p:cNvPicPr>
              <a:picLocks noChangeAspect="1"/>
            </p:cNvPicPr>
            <p:nvPr/>
          </p:nvPicPr>
          <p:blipFill rotWithShape="1">
            <a:blip r:embed="rId6"/>
            <a:srcRect l="22075" t="9745" r="23736" b="12041"/>
            <a:stretch/>
          </p:blipFill>
          <p:spPr>
            <a:xfrm>
              <a:off x="1695840" y="3564100"/>
              <a:ext cx="899915" cy="1154308"/>
            </a:xfrm>
            <a:prstGeom prst="rect">
              <a:avLst/>
            </a:prstGeom>
          </p:spPr>
        </p:pic>
        <p:pic>
          <p:nvPicPr>
            <p:cNvPr id="324" name="Picture 2" descr="대한민국의 대통령 - 위키백과, 우리 모두의 백과사전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2465" y="3813097"/>
              <a:ext cx="393304" cy="39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7" name="직선 연결선 30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7" idx="0"/>
            <a:endCxn id="273" idx="2"/>
          </p:cNvCxnSpPr>
          <p:nvPr/>
        </p:nvCxnSpPr>
        <p:spPr>
          <a:xfrm flipH="1" flipV="1">
            <a:off x="7870036" y="2479704"/>
            <a:ext cx="1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50216" y="1714128"/>
            <a:ext cx="2839640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7455040" y="1927639"/>
            <a:ext cx="82999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8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48748" y="2823933"/>
            <a:ext cx="2842577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8" name="직사각형 347"/>
          <p:cNvSpPr/>
          <p:nvPr/>
        </p:nvSpPr>
        <p:spPr>
          <a:xfrm>
            <a:off x="6450153" y="2823933"/>
            <a:ext cx="28397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 이후 연설문 단어 빈도 추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출현 빈도 상위 </a:t>
            </a:r>
            <a:r>
              <a: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선정</a:t>
            </a:r>
          </a:p>
        </p:txBody>
      </p:sp>
      <p:sp>
        <p:nvSpPr>
          <p:cNvPr id="36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6593726" y="3322192"/>
            <a:ext cx="2552620" cy="2734859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64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8296843" y="3657275"/>
            <a:ext cx="743727" cy="2344395"/>
          </a:xfrm>
          <a:prstGeom prst="roundRect">
            <a:avLst>
              <a:gd name="adj" fmla="val 3922"/>
            </a:avLst>
          </a:prstGeom>
          <a:solidFill>
            <a:schemeClr val="accent2">
              <a:lumMod val="40000"/>
              <a:lumOff val="60000"/>
              <a:alpha val="3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058" name="그림 10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9503" y="3411446"/>
            <a:ext cx="2341067" cy="2658086"/>
          </a:xfrm>
          <a:prstGeom prst="rect">
            <a:avLst/>
          </a:prstGeom>
        </p:spPr>
      </p:pic>
      <p:pic>
        <p:nvPicPr>
          <p:cNvPr id="36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40924" y="3350111"/>
            <a:ext cx="282245" cy="28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9" name="그룹 1068"/>
          <p:cNvGrpSpPr/>
          <p:nvPr/>
        </p:nvGrpSpPr>
        <p:grpSpPr>
          <a:xfrm>
            <a:off x="9424408" y="1714128"/>
            <a:ext cx="2356446" cy="4367884"/>
            <a:chOff x="9349779" y="1608967"/>
            <a:chExt cx="2356446" cy="4367884"/>
          </a:xfrm>
        </p:grpSpPr>
        <p:cxnSp>
          <p:nvCxnSpPr>
            <p:cNvPr id="308" name="직선 연결선 30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8" idx="0"/>
              <a:endCxn id="276" idx="2"/>
            </p:cNvCxnSpPr>
            <p:nvPr/>
          </p:nvCxnSpPr>
          <p:spPr>
            <a:xfrm flipH="1" flipV="1">
              <a:off x="10527856" y="2374543"/>
              <a:ext cx="146" cy="343213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50850" y="1608967"/>
              <a:ext cx="2354011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7" name="직사각형 276"/>
            <p:cNvSpPr/>
            <p:nvPr/>
          </p:nvSpPr>
          <p:spPr>
            <a:xfrm>
              <a:off x="10112859" y="1822478"/>
              <a:ext cx="829992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</a:t>
              </a:r>
            </a:p>
          </p:txBody>
        </p:sp>
        <p:sp>
          <p:nvSpPr>
            <p:cNvPr id="28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49779" y="2717756"/>
              <a:ext cx="2356446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9461223" y="2717756"/>
              <a:ext cx="213355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 패키지를 활용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출현 빈도 높은 단어 시각화</a:t>
              </a:r>
            </a:p>
          </p:txBody>
        </p:sp>
        <p:pic>
          <p:nvPicPr>
            <p:cNvPr id="1057" name="그림 1056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9461223" y="3337499"/>
              <a:ext cx="1386040" cy="1389869"/>
            </a:xfrm>
            <a:prstGeom prst="roundRect">
              <a:avLst>
                <a:gd name="adj" fmla="val 3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EE04A7DE-9FD2-E553-7DA9-BE2C2CBE89AB}"/>
                </a:ext>
              </a:extLst>
            </p:cNvPr>
            <p:cNvSpPr txBox="1"/>
            <p:nvPr/>
          </p:nvSpPr>
          <p:spPr>
            <a:xfrm>
              <a:off x="10280643" y="5607519"/>
              <a:ext cx="4947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68" name="Picture 28" descr="Python Charts - Beautiful Bar Charts in Matplotli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654" y="4274329"/>
              <a:ext cx="1680264" cy="1253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60C33E5-4D3F-CC0C-B7B3-B89A96B0A902}"/>
              </a:ext>
            </a:extLst>
          </p:cNvPr>
          <p:cNvGrpSpPr/>
          <p:nvPr/>
        </p:nvGrpSpPr>
        <p:grpSpPr>
          <a:xfrm>
            <a:off x="3712767" y="1714128"/>
            <a:ext cx="2486353" cy="4367884"/>
            <a:chOff x="3067307" y="1714128"/>
            <a:chExt cx="2486353" cy="4367884"/>
          </a:xfrm>
        </p:grpSpPr>
        <p:cxnSp>
          <p:nvCxnSpPr>
            <p:cNvPr id="306" name="직선 연결선 305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6" idx="0"/>
              <a:endCxn id="270" idx="2"/>
            </p:cNvCxnSpPr>
            <p:nvPr/>
          </p:nvCxnSpPr>
          <p:spPr>
            <a:xfrm flipV="1">
              <a:off x="4307566" y="2479704"/>
              <a:ext cx="7117" cy="344229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75706" y="1714128"/>
              <a:ext cx="2477954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FF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1" name="직사각형 270"/>
            <p:cNvSpPr/>
            <p:nvPr/>
          </p:nvSpPr>
          <p:spPr>
            <a:xfrm>
              <a:off x="3842438" y="1927639"/>
              <a:ext cx="944489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수집 범위</a:t>
              </a:r>
            </a:p>
          </p:txBody>
        </p:sp>
        <p:sp>
          <p:nvSpPr>
            <p:cNvPr id="2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67307" y="2823933"/>
              <a:ext cx="2480517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3107921" y="2823933"/>
              <a:ext cx="23992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북한 군사적 도발 및 민간 피해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직전 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일 내 모든 연설문</a:t>
              </a:r>
            </a:p>
          </p:txBody>
        </p:sp>
        <p:sp>
          <p:nvSpPr>
            <p:cNvPr id="14" name="오른쪽 화살표 89">
              <a:extLst>
                <a:ext uri="{FF2B5EF4-FFF2-40B4-BE49-F238E27FC236}">
                  <a16:creationId xmlns:a16="http://schemas.microsoft.com/office/drawing/2014/main" id="{8BE3090A-C21E-784A-F065-602E14EDB6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5400000" flipV="1">
              <a:off x="4177791" y="4125776"/>
              <a:ext cx="259548" cy="283184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7BB077-6AD6-0A65-E1C0-ECA3D49A946C}"/>
                </a:ext>
              </a:extLst>
            </p:cNvPr>
            <p:cNvGrpSpPr/>
            <p:nvPr/>
          </p:nvGrpSpPr>
          <p:grpSpPr>
            <a:xfrm>
              <a:off x="3171066" y="3322192"/>
              <a:ext cx="2272999" cy="726249"/>
              <a:chOff x="3165752" y="3322192"/>
              <a:chExt cx="2272999" cy="726249"/>
            </a:xfrm>
          </p:grpSpPr>
          <p:sp>
            <p:nvSpPr>
              <p:cNvPr id="9" name="사각형: 둥근 모서리 15">
                <a:extLst>
                  <a:ext uri="{FF2B5EF4-FFF2-40B4-BE49-F238E27FC236}">
                    <a16:creationId xmlns:a16="http://schemas.microsoft.com/office/drawing/2014/main" id="{F407E079-29B2-C0CF-6786-CA7EA720DC30}"/>
                  </a:ext>
                </a:extLst>
              </p:cNvPr>
              <p:cNvSpPr/>
              <p:nvPr/>
            </p:nvSpPr>
            <p:spPr>
              <a:xfrm>
                <a:off x="3165752" y="3322192"/>
                <a:ext cx="2272999" cy="726249"/>
              </a:xfrm>
              <a:prstGeom prst="roundRect">
                <a:avLst>
                  <a:gd name="adj" fmla="val 2220"/>
                </a:avLst>
              </a:prstGeom>
              <a:solidFill>
                <a:sysClr val="window" lastClr="FFFFFF"/>
              </a:solidFill>
              <a:ln w="3175" cap="flat" cmpd="sng" algn="ctr">
                <a:solidFill>
                  <a:schemeClr val="tx1"/>
                </a:solidFill>
                <a:prstDash val="sysDash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645D8C12-81AB-C712-3B4F-C4411923A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230101" y="3391444"/>
                <a:ext cx="2144301" cy="587745"/>
              </a:xfrm>
              <a:prstGeom prst="rect">
                <a:avLst/>
              </a:prstGeom>
            </p:spPr>
          </p:pic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4A74BC9D-A008-D8C9-E2F3-C60CADBBCD74}"/>
                  </a:ext>
                </a:extLst>
              </p:cNvPr>
              <p:cNvSpPr/>
              <p:nvPr/>
            </p:nvSpPr>
            <p:spPr>
              <a:xfrm>
                <a:off x="3230101" y="3779025"/>
                <a:ext cx="2144301" cy="18281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AD62626-EA4D-E75C-EE52-B1FB6AC2B39E}"/>
                </a:ext>
              </a:extLst>
            </p:cNvPr>
            <p:cNvGrpSpPr/>
            <p:nvPr/>
          </p:nvGrpSpPr>
          <p:grpSpPr>
            <a:xfrm>
              <a:off x="3171066" y="4461145"/>
              <a:ext cx="2272999" cy="1519451"/>
              <a:chOff x="3165752" y="4461145"/>
              <a:chExt cx="2272999" cy="1519451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15E06E8F-2C69-AA91-5325-25729D84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65752" y="4461145"/>
                <a:ext cx="2272999" cy="1519451"/>
              </a:xfrm>
              <a:prstGeom prst="rect">
                <a:avLst/>
              </a:prstGeom>
              <a:ln w="3175">
                <a:solidFill>
                  <a:schemeClr val="tx1"/>
                </a:solidFill>
              </a:ln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155A8795-8700-849C-4C38-762034E544EF}"/>
                  </a:ext>
                </a:extLst>
              </p:cNvPr>
              <p:cNvSpPr/>
              <p:nvPr/>
            </p:nvSpPr>
            <p:spPr>
              <a:xfrm>
                <a:off x="4901339" y="4848176"/>
                <a:ext cx="510825" cy="648384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29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3069C0B-767C-134C-976D-BA9095074E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5256282" y="4645450"/>
              <a:ext cx="282245" cy="280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8FE00F-BDEA-484B-E31B-D096ADD07485}"/>
              </a:ext>
            </a:extLst>
          </p:cNvPr>
          <p:cNvGrpSpPr/>
          <p:nvPr/>
        </p:nvGrpSpPr>
        <p:grpSpPr>
          <a:xfrm>
            <a:off x="618439" y="3789234"/>
            <a:ext cx="2559382" cy="726249"/>
            <a:chOff x="618439" y="3789234"/>
            <a:chExt cx="2559382" cy="726249"/>
          </a:xfrm>
        </p:grpSpPr>
        <p:sp>
          <p:nvSpPr>
            <p:cNvPr id="35" name="사각형: 둥근 모서리 15">
              <a:extLst>
                <a:ext uri="{FF2B5EF4-FFF2-40B4-BE49-F238E27FC236}">
                  <a16:creationId xmlns:a16="http://schemas.microsoft.com/office/drawing/2014/main" id="{0B5FCAD4-F6C5-EF3C-644E-B1382493F746}"/>
                </a:ext>
              </a:extLst>
            </p:cNvPr>
            <p:cNvSpPr/>
            <p:nvPr/>
          </p:nvSpPr>
          <p:spPr>
            <a:xfrm>
              <a:off x="618439" y="3789234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5877B4E3-B593-8CC5-4C28-2AF9B21482AE}"/>
                </a:ext>
              </a:extLst>
            </p:cNvPr>
            <p:cNvSpPr/>
            <p:nvPr/>
          </p:nvSpPr>
          <p:spPr>
            <a:xfrm>
              <a:off x="697079" y="3890748"/>
              <a:ext cx="240210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표 데이터셋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역대 대통령들의 모든 연설문</a:t>
              </a:r>
            </a:p>
          </p:txBody>
        </p:sp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941129B-22B5-68C2-5239-88D8A7490A9B}"/>
              </a:ext>
            </a:extLst>
          </p:cNvPr>
          <p:cNvSpPr/>
          <p:nvPr/>
        </p:nvSpPr>
        <p:spPr>
          <a:xfrm>
            <a:off x="1327712" y="3484057"/>
            <a:ext cx="1129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계획</a:t>
            </a:r>
          </a:p>
        </p:txBody>
      </p:sp>
      <p:sp>
        <p:nvSpPr>
          <p:cNvPr id="37" name="오른쪽 화살표 89">
            <a:extLst>
              <a:ext uri="{FF2B5EF4-FFF2-40B4-BE49-F238E27FC236}">
                <a16:creationId xmlns:a16="http://schemas.microsoft.com/office/drawing/2014/main" id="{D462B514-2BDB-C7D3-D74C-326F9E89559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 flipV="1">
            <a:off x="1750788" y="4556348"/>
            <a:ext cx="294685" cy="321521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991C772-3C76-504D-1649-27631105F824}"/>
              </a:ext>
            </a:extLst>
          </p:cNvPr>
          <p:cNvSpPr/>
          <p:nvPr/>
        </p:nvSpPr>
        <p:spPr>
          <a:xfrm>
            <a:off x="1473946" y="4870998"/>
            <a:ext cx="848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AFF0E-E255-AFB8-A931-8DA49EC3D1DF}"/>
              </a:ext>
            </a:extLst>
          </p:cNvPr>
          <p:cNvSpPr txBox="1"/>
          <p:nvPr/>
        </p:nvSpPr>
        <p:spPr>
          <a:xfrm>
            <a:off x="2042366" y="4563220"/>
            <a:ext cx="848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범위 축소</a:t>
            </a:r>
            <a:endParaRPr lang="ko-KR" altLang="en-US" sz="1400" dirty="0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5A3FB9C1-2A2F-C9D9-A49D-6568E5D3AB7F}"/>
              </a:ext>
            </a:extLst>
          </p:cNvPr>
          <p:cNvGrpSpPr/>
          <p:nvPr/>
        </p:nvGrpSpPr>
        <p:grpSpPr>
          <a:xfrm>
            <a:off x="618439" y="5185788"/>
            <a:ext cx="2559382" cy="726249"/>
            <a:chOff x="618439" y="5185788"/>
            <a:chExt cx="2559382" cy="726249"/>
          </a:xfrm>
        </p:grpSpPr>
        <p:sp>
          <p:nvSpPr>
            <p:cNvPr id="38" name="사각형: 둥근 모서리 15">
              <a:extLst>
                <a:ext uri="{FF2B5EF4-FFF2-40B4-BE49-F238E27FC236}">
                  <a16:creationId xmlns:a16="http://schemas.microsoft.com/office/drawing/2014/main" id="{60352934-D073-F32E-3915-C69B2D67235D}"/>
                </a:ext>
              </a:extLst>
            </p:cNvPr>
            <p:cNvSpPr/>
            <p:nvPr/>
          </p:nvSpPr>
          <p:spPr>
            <a:xfrm>
              <a:off x="618439" y="5185788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39C30F-C8C2-A810-7C99-CF35C81BC021}"/>
                </a:ext>
              </a:extLst>
            </p:cNvPr>
            <p:cNvSpPr txBox="1"/>
            <p:nvPr/>
          </p:nvSpPr>
          <p:spPr>
            <a:xfrm>
              <a:off x="618439" y="5198207"/>
              <a:ext cx="2559382" cy="7014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 함수 최적화 문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대적 상황의 문제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반공정서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62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3742623"/>
            <a:ext cx="11745332" cy="268465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2875848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북한 도발 주요 사건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54" name="사각형: 둥근 모서리 24">
            <a:extLst>
              <a:ext uri="{FF2B5EF4-FFF2-40B4-BE49-F238E27FC236}">
                <a16:creationId xmlns:a16="http://schemas.microsoft.com/office/drawing/2014/main" id="{F1D8D8A4-8D92-32EC-64B8-1C247BD03502}"/>
              </a:ext>
            </a:extLst>
          </p:cNvPr>
          <p:cNvSpPr/>
          <p:nvPr/>
        </p:nvSpPr>
        <p:spPr>
          <a:xfrm>
            <a:off x="353426" y="978449"/>
            <a:ext cx="2250074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55" name="그림 254">
            <a:extLst>
              <a:ext uri="{FF2B5EF4-FFF2-40B4-BE49-F238E27FC236}">
                <a16:creationId xmlns:a16="http://schemas.microsoft.com/office/drawing/2014/main" id="{B6622413-F2A9-F3BB-E22D-18370D2E507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553" y="1049567"/>
            <a:ext cx="238550" cy="238550"/>
          </a:xfrm>
          <a:prstGeom prst="rect">
            <a:avLst/>
          </a:prstGeom>
        </p:spPr>
      </p:pic>
      <p:sp>
        <p:nvSpPr>
          <p:cNvPr id="256" name="TextBox 39">
            <a:extLst>
              <a:ext uri="{FF2B5EF4-FFF2-40B4-BE49-F238E27FC236}">
                <a16:creationId xmlns:a16="http://schemas.microsoft.com/office/drawing/2014/main" id="{22B59FF7-B25F-B543-AC53-00D1D4DA338F}"/>
              </a:ext>
            </a:extLst>
          </p:cNvPr>
          <p:cNvSpPr txBox="1"/>
          <p:nvPr/>
        </p:nvSpPr>
        <p:spPr>
          <a:xfrm>
            <a:off x="640300" y="998598"/>
            <a:ext cx="18030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600" b="1" smtClean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북한 도발 주요 사건</a:t>
            </a:r>
            <a:endParaRPr lang="en-US" altLang="ko-KR" sz="16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</p:cNvCxnSpPr>
          <p:nvPr/>
        </p:nvCxnSpPr>
        <p:spPr>
          <a:xfrm flipH="1">
            <a:off x="650376" y="3948544"/>
            <a:ext cx="10891248" cy="0"/>
          </a:xfrm>
          <a:prstGeom prst="line">
            <a:avLst/>
          </a:prstGeom>
          <a:noFill/>
          <a:ln w="31750" cap="flat" cmpd="sng" algn="ctr">
            <a:solidFill>
              <a:sysClr val="window" lastClr="FFFFFF">
                <a:lumMod val="50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grpSp>
        <p:nvGrpSpPr>
          <p:cNvPr id="40" name="그룹 39"/>
          <p:cNvGrpSpPr/>
          <p:nvPr/>
        </p:nvGrpSpPr>
        <p:grpSpPr>
          <a:xfrm>
            <a:off x="267167" y="3374963"/>
            <a:ext cx="1962158" cy="3019033"/>
            <a:chOff x="267167" y="3374963"/>
            <a:chExt cx="1962158" cy="3019033"/>
          </a:xfrm>
        </p:grpSpPr>
        <p:sp>
          <p:nvSpPr>
            <p:cNvPr id="15" name="직사각형 14"/>
            <p:cNvSpPr/>
            <p:nvPr/>
          </p:nvSpPr>
          <p:spPr>
            <a:xfrm>
              <a:off x="782414" y="3374963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2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" name="타원 6"/>
            <p:cNvSpPr/>
            <p:nvPr/>
          </p:nvSpPr>
          <p:spPr>
            <a:xfrm>
              <a:off x="1057746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3" name="직선 화살표 연결선 12"/>
            <p:cNvCxnSpPr/>
            <p:nvPr/>
          </p:nvCxnSpPr>
          <p:spPr>
            <a:xfrm>
              <a:off x="1248246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 descr="단독] 제2연평해전 생존 장병…20년 만에 국가유공자 인정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167" y="4633884"/>
              <a:ext cx="1962158" cy="115709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3" name="직사각형 92"/>
            <p:cNvSpPr/>
            <p:nvPr/>
          </p:nvSpPr>
          <p:spPr>
            <a:xfrm>
              <a:off x="650166" y="5870776"/>
              <a:ext cx="119616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제</a:t>
              </a:r>
              <a:r>
                <a:rPr lang="en-US" altLang="ko-KR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해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1601118" y="1552203"/>
            <a:ext cx="1962000" cy="3004840"/>
            <a:chOff x="1653958" y="1552203"/>
            <a:chExt cx="1962000" cy="3004840"/>
          </a:xfrm>
        </p:grpSpPr>
        <p:sp>
          <p:nvSpPr>
            <p:cNvPr id="69" name="타원 68"/>
            <p:cNvSpPr/>
            <p:nvPr/>
          </p:nvSpPr>
          <p:spPr>
            <a:xfrm>
              <a:off x="2444458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3" name="직선 화살표 연결선 82"/>
            <p:cNvCxnSpPr/>
            <p:nvPr/>
          </p:nvCxnSpPr>
          <p:spPr>
            <a:xfrm flipV="1">
              <a:off x="2634958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직사각형 94"/>
            <p:cNvSpPr/>
            <p:nvPr/>
          </p:nvSpPr>
          <p:spPr>
            <a:xfrm>
              <a:off x="2167523" y="4187711"/>
              <a:ext cx="9348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8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2" name="Picture 4" descr="2008년 금강산 관광객 피격 사망사건 : 네이버 블로그"/>
            <p:cNvPicPr preferRelativeResize="0"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3958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7" name="직사각형 96"/>
            <p:cNvSpPr/>
            <p:nvPr/>
          </p:nvSpPr>
          <p:spPr>
            <a:xfrm>
              <a:off x="1856540" y="1552203"/>
              <a:ext cx="155683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금강산 관광객 피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2934911" y="3373291"/>
            <a:ext cx="1962000" cy="3020705"/>
            <a:chOff x="3036585" y="3373291"/>
            <a:chExt cx="1962000" cy="3020705"/>
          </a:xfrm>
        </p:grpSpPr>
        <p:sp>
          <p:nvSpPr>
            <p:cNvPr id="71" name="타원 70"/>
            <p:cNvSpPr/>
            <p:nvPr/>
          </p:nvSpPr>
          <p:spPr>
            <a:xfrm>
              <a:off x="3827085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5" name="직선 화살표 연결선 84"/>
            <p:cNvCxnSpPr/>
            <p:nvPr/>
          </p:nvCxnSpPr>
          <p:spPr>
            <a:xfrm>
              <a:off x="4017585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직사각형 97"/>
            <p:cNvSpPr/>
            <p:nvPr/>
          </p:nvSpPr>
          <p:spPr>
            <a:xfrm>
              <a:off x="3569386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6" name="Picture 8" descr="팩트체크] 천안함 함장 경계실패 책임 논란 | 연합뉴스"/>
            <p:cNvPicPr preferRelativeResize="0"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6585" y="4633884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1" name="직사각형 100"/>
            <p:cNvSpPr/>
            <p:nvPr/>
          </p:nvSpPr>
          <p:spPr>
            <a:xfrm>
              <a:off x="3339354" y="5870776"/>
              <a:ext cx="1356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천안함 피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4268704" y="1552203"/>
            <a:ext cx="1962000" cy="3004840"/>
            <a:chOff x="4423630" y="1552203"/>
            <a:chExt cx="1962000" cy="3004840"/>
          </a:xfrm>
        </p:grpSpPr>
        <p:sp>
          <p:nvSpPr>
            <p:cNvPr id="72" name="타원 71"/>
            <p:cNvSpPr/>
            <p:nvPr/>
          </p:nvSpPr>
          <p:spPr>
            <a:xfrm>
              <a:off x="521413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6" name="직선 화살표 연결선 85"/>
            <p:cNvCxnSpPr/>
            <p:nvPr/>
          </p:nvCxnSpPr>
          <p:spPr>
            <a:xfrm flipV="1">
              <a:off x="540463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직사각형 102"/>
            <p:cNvSpPr/>
            <p:nvPr/>
          </p:nvSpPr>
          <p:spPr>
            <a:xfrm>
              <a:off x="4956431" y="418771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8" name="Picture 10" descr="북한은 왜 연평도를 포격했나 - 오마이뉴스"/>
            <p:cNvPicPr preferRelativeResize="0"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3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5" name="직사각형 104"/>
            <p:cNvSpPr/>
            <p:nvPr/>
          </p:nvSpPr>
          <p:spPr>
            <a:xfrm>
              <a:off x="4824984" y="1552203"/>
              <a:ext cx="115929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도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포격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5602497" y="3373291"/>
            <a:ext cx="1962000" cy="3020705"/>
            <a:chOff x="5818519" y="3373291"/>
            <a:chExt cx="1962000" cy="3020705"/>
          </a:xfrm>
        </p:grpSpPr>
        <p:sp>
          <p:nvSpPr>
            <p:cNvPr id="73" name="타원 72"/>
            <p:cNvSpPr/>
            <p:nvPr/>
          </p:nvSpPr>
          <p:spPr>
            <a:xfrm>
              <a:off x="6609019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7" name="직선 화살표 연결선 86"/>
            <p:cNvCxnSpPr/>
            <p:nvPr/>
          </p:nvCxnSpPr>
          <p:spPr>
            <a:xfrm>
              <a:off x="6799519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직사각형 105"/>
            <p:cNvSpPr/>
            <p:nvPr/>
          </p:nvSpPr>
          <p:spPr>
            <a:xfrm>
              <a:off x="6351320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0" name="Picture 12" descr="목함지뢰 폭발사고, 왜 '북한 소행'을 숨겼는가?"/>
            <p:cNvPicPr preferRelativeResize="0"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8519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8" name="직사각형 107"/>
            <p:cNvSpPr/>
            <p:nvPr/>
          </p:nvSpPr>
          <p:spPr>
            <a:xfrm>
              <a:off x="5822329" y="5870776"/>
              <a:ext cx="195438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MZ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지뢰 매설 사건</a:t>
              </a:r>
              <a:endParaRPr lang="en-US" altLang="ko-KR" sz="1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109" name="직사각형 108"/>
          <p:cNvSpPr/>
          <p:nvPr/>
        </p:nvSpPr>
        <p:spPr>
          <a:xfrm>
            <a:off x="7452259" y="4187711"/>
            <a:ext cx="930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015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년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6936290" y="1552203"/>
            <a:ext cx="1962000" cy="2586841"/>
            <a:chOff x="7295290" y="1552203"/>
            <a:chExt cx="1962000" cy="2586841"/>
          </a:xfrm>
        </p:grpSpPr>
        <p:sp>
          <p:nvSpPr>
            <p:cNvPr id="74" name="타원 73"/>
            <p:cNvSpPr/>
            <p:nvPr/>
          </p:nvSpPr>
          <p:spPr>
            <a:xfrm>
              <a:off x="808579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8" name="직선 화살표 연결선 87"/>
            <p:cNvCxnSpPr/>
            <p:nvPr/>
          </p:nvCxnSpPr>
          <p:spPr>
            <a:xfrm flipV="1">
              <a:off x="827629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2" name="Picture 14" descr="北 도발에 南北 서부전선서 포격전…군사적 긴장 최고조(종합) | 연합뉴스"/>
            <p:cNvPicPr preferRelativeResize="0"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529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1" name="직사각형 110"/>
            <p:cNvSpPr/>
            <p:nvPr/>
          </p:nvSpPr>
          <p:spPr>
            <a:xfrm>
              <a:off x="7520314" y="1552203"/>
              <a:ext cx="151195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8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부전선 포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8270083" y="3373291"/>
            <a:ext cx="2331087" cy="3048096"/>
            <a:chOff x="8404318" y="3373291"/>
            <a:chExt cx="2331087" cy="3048096"/>
          </a:xfrm>
        </p:grpSpPr>
        <p:sp>
          <p:nvSpPr>
            <p:cNvPr id="75" name="타원 74"/>
            <p:cNvSpPr/>
            <p:nvPr/>
          </p:nvSpPr>
          <p:spPr>
            <a:xfrm>
              <a:off x="9379361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9" name="직선 화살표 연결선 88"/>
            <p:cNvCxnSpPr/>
            <p:nvPr/>
          </p:nvCxnSpPr>
          <p:spPr>
            <a:xfrm>
              <a:off x="9569861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직사각형 111"/>
            <p:cNvSpPr/>
            <p:nvPr/>
          </p:nvSpPr>
          <p:spPr>
            <a:xfrm>
              <a:off x="9104029" y="337329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4" name="Picture 16" descr="남북연락사무소 폭파 447억 배상하라” 정부, 北상대 첫 소송"/>
            <p:cNvPicPr preferRelativeResize="0"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861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5" name="직사각형 114"/>
            <p:cNvSpPr/>
            <p:nvPr/>
          </p:nvSpPr>
          <p:spPr>
            <a:xfrm>
              <a:off x="8404318" y="5898167"/>
              <a:ext cx="233108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공동 연락사무소 폭파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9972962" y="1552203"/>
            <a:ext cx="1962000" cy="3004840"/>
            <a:chOff x="9972962" y="1552203"/>
            <a:chExt cx="1962000" cy="3004840"/>
          </a:xfrm>
        </p:grpSpPr>
        <p:sp>
          <p:nvSpPr>
            <p:cNvPr id="76" name="타원 75"/>
            <p:cNvSpPr/>
            <p:nvPr/>
          </p:nvSpPr>
          <p:spPr>
            <a:xfrm>
              <a:off x="10754917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90" name="직선 화살표 연결선 89"/>
            <p:cNvCxnSpPr/>
            <p:nvPr/>
          </p:nvCxnSpPr>
          <p:spPr>
            <a:xfrm flipV="1">
              <a:off x="10945417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/>
            <p:cNvSpPr/>
            <p:nvPr/>
          </p:nvSpPr>
          <p:spPr>
            <a:xfrm>
              <a:off x="10479584" y="418771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10099401" y="1552203"/>
              <a:ext cx="17091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해 공무원 피살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6" name="Picture 18" descr="서해 공무원 피살' 감사 결론 &quot;초동대처 부실·사건 은폐&quot; 감사원 논란도"/>
            <p:cNvPicPr preferRelativeResize="0"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962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</p:grpSp>
    </p:spTree>
    <p:extLst>
      <p:ext uri="{BB962C8B-B14F-4D97-AF65-F5344CB8AC3E}">
        <p14:creationId xmlns:p14="http://schemas.microsoft.com/office/powerpoint/2010/main" val="1057069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7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역할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79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81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역할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75114" y="1622618"/>
            <a:ext cx="2088000" cy="765576"/>
            <a:chOff x="673308" y="1643488"/>
            <a:chExt cx="2088000" cy="765576"/>
          </a:xfrm>
        </p:grpSpPr>
        <p:sp>
          <p:nvSpPr>
            <p:cNvPr id="4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73308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1156097" y="1856999"/>
              <a:ext cx="11224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수집</a:t>
              </a:r>
            </a:p>
          </p:txBody>
        </p:sp>
      </p:grpSp>
      <p:sp>
        <p:nvSpPr>
          <p:cNvPr id="3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511765" y="1622618"/>
            <a:ext cx="215959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919090" y="1713019"/>
            <a:ext cx="1344941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기획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3595847" y="1622618"/>
            <a:ext cx="2088000" cy="765576"/>
            <a:chOff x="3594041" y="1643488"/>
            <a:chExt cx="2088000" cy="765576"/>
          </a:xfrm>
        </p:grpSpPr>
        <p:sp>
          <p:nvSpPr>
            <p:cNvPr id="2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594041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987863" y="1856999"/>
              <a:ext cx="130035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</a:t>
              </a:r>
            </a:p>
          </p:txBody>
        </p:sp>
      </p:grp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9428886" y="1622618"/>
            <a:ext cx="208800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540581" y="1836129"/>
            <a:ext cx="186461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서비스 구축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6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1" name="그림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682" y="2763360"/>
            <a:ext cx="2090409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2" name="Picture 7" descr="C:\Users\Administrator\Desktop\02.PNG">
            <a:extLst>
              <a:ext uri="{FF2B5EF4-FFF2-40B4-BE49-F238E27FC236}">
                <a16:creationId xmlns:a16="http://schemas.microsoft.com/office/drawing/2014/main" id="{F8CECF59-8F56-1043-F25B-D9498548F4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E7BA08B-8C43-5295-0EE2-38D75FC91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1764" y="2763360"/>
            <a:ext cx="2159591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7D5B861-489D-7420-12F0-3BCB5409B1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114" y="2763360"/>
            <a:ext cx="2088000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1076A6C-5C5A-1961-5014-AE73226FA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5847" y="2763359"/>
            <a:ext cx="2082463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82" name="직사각형 81"/>
          <p:cNvSpPr/>
          <p:nvPr/>
        </p:nvSpPr>
        <p:spPr>
          <a:xfrm>
            <a:off x="1294959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우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212923" y="566955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오승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7167404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박주찬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10048732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의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780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사각형: 둥근 모서리 15">
            <a:extLst>
              <a:ext uri="{FF2B5EF4-FFF2-40B4-BE49-F238E27FC236}">
                <a16:creationId xmlns:a16="http://schemas.microsoft.com/office/drawing/2014/main" id="{9EAD657F-3B8C-49B5-D49F-5FC737D3FDEE}"/>
              </a:ext>
            </a:extLst>
          </p:cNvPr>
          <p:cNvSpPr/>
          <p:nvPr/>
        </p:nvSpPr>
        <p:spPr>
          <a:xfrm>
            <a:off x="223334" y="846354"/>
            <a:ext cx="10840906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3239849" cy="404431"/>
          </a:xfrm>
        </p:spPr>
        <p:txBody>
          <a:bodyPr/>
          <a:lstStyle/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Snapshot</a:t>
            </a:r>
            <a:endParaRPr lang="ko-KR" altLang="en-US" dirty="0"/>
          </a:p>
        </p:txBody>
      </p:sp>
      <p:pic>
        <p:nvPicPr>
          <p:cNvPr id="6" name="Picture 7" descr="C:\Users\Administrator\Desktop\02.PNG">
            <a:extLst>
              <a:ext uri="{FF2B5EF4-FFF2-40B4-BE49-F238E27FC236}">
                <a16:creationId xmlns:a16="http://schemas.microsoft.com/office/drawing/2014/main" id="{F9617AAB-207C-ED00-0E44-DCDE01344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4" y="4519583"/>
            <a:ext cx="10840905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607;p163">
            <a:extLst>
              <a:ext uri="{FF2B5EF4-FFF2-40B4-BE49-F238E27FC236}">
                <a16:creationId xmlns:a16="http://schemas.microsoft.com/office/drawing/2014/main" id="{BA3DCDC2-E1C0-1387-782A-B8538B1A8BF7}"/>
              </a:ext>
            </a:extLst>
          </p:cNvPr>
          <p:cNvSpPr/>
          <p:nvPr/>
        </p:nvSpPr>
        <p:spPr>
          <a:xfrm>
            <a:off x="345277" y="1448237"/>
            <a:ext cx="2340000" cy="3607582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BBAF2-A0C2-B275-EDB2-6A09D3D9DD6A}"/>
              </a:ext>
            </a:extLst>
          </p:cNvPr>
          <p:cNvSpPr txBox="1"/>
          <p:nvPr/>
        </p:nvSpPr>
        <p:spPr>
          <a:xfrm>
            <a:off x="345277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kumimoji="1" lang="ko-KR" altLang="en-US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kumimoji="1" lang="en-US" altLang="ko-KR" sz="1600" b="1" dirty="0">
              <a:solidFill>
                <a:srgbClr val="FFFFFF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Google Shape;1607;p163">
            <a:extLst>
              <a:ext uri="{FF2B5EF4-FFF2-40B4-BE49-F238E27FC236}">
                <a16:creationId xmlns:a16="http://schemas.microsoft.com/office/drawing/2014/main" id="{E842AD97-3E09-780A-C42C-D535C0E89D74}"/>
              </a:ext>
            </a:extLst>
          </p:cNvPr>
          <p:cNvSpPr/>
          <p:nvPr/>
        </p:nvSpPr>
        <p:spPr>
          <a:xfrm>
            <a:off x="3042615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8DF0DE-D926-659E-9370-B0B1513E96A6}"/>
              </a:ext>
            </a:extLst>
          </p:cNvPr>
          <p:cNvSpPr txBox="1"/>
          <p:nvPr/>
        </p:nvSpPr>
        <p:spPr>
          <a:xfrm>
            <a:off x="3042615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</a:p>
        </p:txBody>
      </p:sp>
      <p:sp>
        <p:nvSpPr>
          <p:cNvPr id="37" name="Google Shape;1607;p163">
            <a:extLst>
              <a:ext uri="{FF2B5EF4-FFF2-40B4-BE49-F238E27FC236}">
                <a16:creationId xmlns:a16="http://schemas.microsoft.com/office/drawing/2014/main" id="{C5AF8745-B5FC-E1BB-2061-61C4EB886970}"/>
              </a:ext>
            </a:extLst>
          </p:cNvPr>
          <p:cNvSpPr/>
          <p:nvPr/>
        </p:nvSpPr>
        <p:spPr>
          <a:xfrm>
            <a:off x="5739953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A371E-55EC-8E3D-9702-8B6828BB160F}"/>
              </a:ext>
            </a:extLst>
          </p:cNvPr>
          <p:cNvSpPr txBox="1"/>
          <p:nvPr/>
        </p:nvSpPr>
        <p:spPr>
          <a:xfrm>
            <a:off x="5739953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③ </a:t>
            </a:r>
            <a:r>
              <a:rPr lang="ko-KR" altLang="en-US" dirty="0"/>
              <a:t>데이터 시각화</a:t>
            </a:r>
            <a:endParaRPr lang="en-US" altLang="ko-KR" dirty="0"/>
          </a:p>
        </p:txBody>
      </p:sp>
      <p:sp>
        <p:nvSpPr>
          <p:cNvPr id="46" name="Google Shape;1607;p163">
            <a:extLst>
              <a:ext uri="{FF2B5EF4-FFF2-40B4-BE49-F238E27FC236}">
                <a16:creationId xmlns:a16="http://schemas.microsoft.com/office/drawing/2014/main" id="{5BD6DFA7-977D-0758-FC30-2161090C6EF6}"/>
              </a:ext>
            </a:extLst>
          </p:cNvPr>
          <p:cNvSpPr/>
          <p:nvPr/>
        </p:nvSpPr>
        <p:spPr>
          <a:xfrm>
            <a:off x="8437289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D82AE-DA9C-CFA8-5EE6-F1D349E25536}"/>
              </a:ext>
            </a:extLst>
          </p:cNvPr>
          <p:cNvSpPr txBox="1"/>
          <p:nvPr/>
        </p:nvSpPr>
        <p:spPr>
          <a:xfrm>
            <a:off x="8437289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④ </a:t>
            </a:r>
            <a:r>
              <a:rPr lang="ko-KR" altLang="en-US" dirty="0" err="1"/>
              <a:t>백엔드</a:t>
            </a:r>
            <a:endParaRPr lang="en-US" altLang="ko-KR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12771C34-F069-799C-DAFC-2020830701C8}"/>
              </a:ext>
            </a:extLst>
          </p:cNvPr>
          <p:cNvGrpSpPr/>
          <p:nvPr/>
        </p:nvGrpSpPr>
        <p:grpSpPr>
          <a:xfrm>
            <a:off x="10847152" y="2071784"/>
            <a:ext cx="1344848" cy="2573368"/>
            <a:chOff x="10332885" y="2071784"/>
            <a:chExt cx="1635781" cy="3130068"/>
          </a:xfrm>
        </p:grpSpPr>
        <p:sp>
          <p:nvSpPr>
            <p:cNvPr id="4" name="자유형: 도형 3">
              <a:extLst>
                <a:ext uri="{FF2B5EF4-FFF2-40B4-BE49-F238E27FC236}">
                  <a16:creationId xmlns:a16="http://schemas.microsoft.com/office/drawing/2014/main" id="{8E87EA87-C4FD-3873-D0B1-1177E7471B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2219" y="2071784"/>
              <a:ext cx="1136447" cy="3130068"/>
            </a:xfrm>
            <a:custGeom>
              <a:avLst/>
              <a:gdLst>
                <a:gd name="connsiteX0" fmla="*/ 1347628 w 1347628"/>
                <a:gd name="connsiteY0" fmla="*/ 0 h 3840345"/>
                <a:gd name="connsiteX1" fmla="*/ 1347628 w 1347628"/>
                <a:gd name="connsiteY1" fmla="*/ 3840345 h 3840345"/>
                <a:gd name="connsiteX2" fmla="*/ 1270913 w 1347628"/>
                <a:gd name="connsiteY2" fmla="*/ 3826035 h 3840345"/>
                <a:gd name="connsiteX3" fmla="*/ 0 w 1347628"/>
                <a:gd name="connsiteY3" fmla="*/ 1920172 h 3840345"/>
                <a:gd name="connsiteX4" fmla="*/ 1270913 w 1347628"/>
                <a:gd name="connsiteY4" fmla="*/ 14310 h 384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28" h="3840345">
                  <a:moveTo>
                    <a:pt x="1347628" y="0"/>
                  </a:moveTo>
                  <a:lnTo>
                    <a:pt x="1347628" y="3840345"/>
                  </a:lnTo>
                  <a:lnTo>
                    <a:pt x="1270913" y="3826035"/>
                  </a:lnTo>
                  <a:cubicBezTo>
                    <a:pt x="545604" y="3644635"/>
                    <a:pt x="0" y="2860278"/>
                    <a:pt x="0" y="1920172"/>
                  </a:cubicBezTo>
                  <a:cubicBezTo>
                    <a:pt x="0" y="980066"/>
                    <a:pt x="545604" y="195710"/>
                    <a:pt x="1270913" y="14310"/>
                  </a:cubicBezTo>
                  <a:close/>
                </a:path>
              </a:pathLst>
            </a:cu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rgbClr val="FFFF00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웹 기반</a:t>
              </a:r>
              <a:endParaRPr lang="en-US" altLang="ko-KR" sz="1400" b="1" kern="0" dirty="0">
                <a:solidFill>
                  <a:srgbClr val="FFFF00"/>
                </a:solidFill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연설문 분석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서비스</a:t>
              </a:r>
              <a:endParaRPr kumimoji="0" lang="en-US" altLang="ko-KR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9" name="화살표: 갈매기형 수장 58">
              <a:extLst>
                <a:ext uri="{FF2B5EF4-FFF2-40B4-BE49-F238E27FC236}">
                  <a16:creationId xmlns:a16="http://schemas.microsoft.com/office/drawing/2014/main" id="{B5336A61-25D9-6968-9BF1-BE92E5CB125F}"/>
                </a:ext>
              </a:extLst>
            </p:cNvPr>
            <p:cNvSpPr/>
            <p:nvPr/>
          </p:nvSpPr>
          <p:spPr>
            <a:xfrm>
              <a:off x="10332885" y="3470440"/>
              <a:ext cx="184433" cy="33275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0" name="화살표: 갈매기형 수장 59">
              <a:extLst>
                <a:ext uri="{FF2B5EF4-FFF2-40B4-BE49-F238E27FC236}">
                  <a16:creationId xmlns:a16="http://schemas.microsoft.com/office/drawing/2014/main" id="{2CC571D4-8B6E-65CF-45D3-CBA89AED4E09}"/>
                </a:ext>
              </a:extLst>
            </p:cNvPr>
            <p:cNvSpPr/>
            <p:nvPr/>
          </p:nvSpPr>
          <p:spPr>
            <a:xfrm>
              <a:off x="10475260" y="3470440"/>
              <a:ext cx="184433" cy="332757"/>
            </a:xfrm>
            <a:prstGeom prst="chevron">
              <a:avLst/>
            </a:prstGeom>
            <a:solidFill>
              <a:srgbClr val="0257B1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latinLnBrk="0"/>
              <a:endParaRPr lang="ko-KR" alt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1" name="화살표: 갈매기형 수장 60">
              <a:extLst>
                <a:ext uri="{FF2B5EF4-FFF2-40B4-BE49-F238E27FC236}">
                  <a16:creationId xmlns:a16="http://schemas.microsoft.com/office/drawing/2014/main" id="{614B33CE-85E8-E88A-E589-259D41ACC3E7}"/>
                </a:ext>
              </a:extLst>
            </p:cNvPr>
            <p:cNvSpPr/>
            <p:nvPr/>
          </p:nvSpPr>
          <p:spPr>
            <a:xfrm>
              <a:off x="10617635" y="3470440"/>
              <a:ext cx="184433" cy="332757"/>
            </a:xfrm>
            <a:prstGeom prst="chevron">
              <a:avLst/>
            </a:pr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6AA911A6-E178-BD79-2822-F56C57135E2A}"/>
              </a:ext>
            </a:extLst>
          </p:cNvPr>
          <p:cNvSpPr/>
          <p:nvPr/>
        </p:nvSpPr>
        <p:spPr>
          <a:xfrm>
            <a:off x="345277" y="935904"/>
            <a:ext cx="1350563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40" name="그림 239">
            <a:extLst>
              <a:ext uri="{FF2B5EF4-FFF2-40B4-BE49-F238E27FC236}">
                <a16:creationId xmlns:a16="http://schemas.microsoft.com/office/drawing/2014/main" id="{2E8D3786-1D25-F87B-5446-9C40BEEBD9A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5402" y="1006055"/>
            <a:ext cx="238550" cy="238550"/>
          </a:xfrm>
          <a:prstGeom prst="rect">
            <a:avLst/>
          </a:prstGeom>
        </p:spPr>
      </p:pic>
      <p:sp>
        <p:nvSpPr>
          <p:cNvPr id="241" name="TextBox 39">
            <a:extLst>
              <a:ext uri="{FF2B5EF4-FFF2-40B4-BE49-F238E27FC236}">
                <a16:creationId xmlns:a16="http://schemas.microsoft.com/office/drawing/2014/main" id="{6CB23C25-F8D7-D29F-4428-B909DF84EF50}"/>
              </a:ext>
            </a:extLst>
          </p:cNvPr>
          <p:cNvSpPr txBox="1"/>
          <p:nvPr/>
        </p:nvSpPr>
        <p:spPr>
          <a:xfrm>
            <a:off x="632382" y="956053"/>
            <a:ext cx="8764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4-Step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B0DE5117-8DC7-ADF2-C798-7FA0B4A3D3D0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E0E7703E-1084-4736-486F-A4156A95A530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8" name="사각형: 둥근 모서리 298">
            <a:extLst>
              <a:ext uri="{FF2B5EF4-FFF2-40B4-BE49-F238E27FC236}">
                <a16:creationId xmlns:a16="http://schemas.microsoft.com/office/drawing/2014/main" id="{635D5DDA-4136-30ED-35E4-DCBD68D02E2E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2" name="사각형: 둥근 모서리 299">
            <a:extLst>
              <a:ext uri="{FF2B5EF4-FFF2-40B4-BE49-F238E27FC236}">
                <a16:creationId xmlns:a16="http://schemas.microsoft.com/office/drawing/2014/main" id="{F66574CE-6D4D-8CD9-63D2-AA0CE05454F3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35" name="삼각형 1">
            <a:extLst>
              <a:ext uri="{FF2B5EF4-FFF2-40B4-BE49-F238E27FC236}">
                <a16:creationId xmlns:a16="http://schemas.microsoft.com/office/drawing/2014/main" id="{9BC75E12-1EA5-85E2-C16C-9876E972FB14}"/>
              </a:ext>
            </a:extLst>
          </p:cNvPr>
          <p:cNvSpPr/>
          <p:nvPr/>
        </p:nvSpPr>
        <p:spPr>
          <a:xfrm rot="5400000">
            <a:off x="1243946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7" name="삼각형 1">
            <a:extLst>
              <a:ext uri="{FF2B5EF4-FFF2-40B4-BE49-F238E27FC236}">
                <a16:creationId xmlns:a16="http://schemas.microsoft.com/office/drawing/2014/main" id="{89B93CA3-0031-7C50-F36A-CD838AFF603B}"/>
              </a:ext>
            </a:extLst>
          </p:cNvPr>
          <p:cNvSpPr/>
          <p:nvPr/>
        </p:nvSpPr>
        <p:spPr>
          <a:xfrm rot="5400000">
            <a:off x="3941284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1" name="삼각형 1">
            <a:extLst>
              <a:ext uri="{FF2B5EF4-FFF2-40B4-BE49-F238E27FC236}">
                <a16:creationId xmlns:a16="http://schemas.microsoft.com/office/drawing/2014/main" id="{8DBED045-05A7-7A5A-2279-802CC0123D40}"/>
              </a:ext>
            </a:extLst>
          </p:cNvPr>
          <p:cNvSpPr/>
          <p:nvPr/>
        </p:nvSpPr>
        <p:spPr>
          <a:xfrm rot="5400000">
            <a:off x="6638622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47F9A9A-55D4-E9A4-78E1-71D52F6439E1}"/>
              </a:ext>
            </a:extLst>
          </p:cNvPr>
          <p:cNvSpPr txBox="1"/>
          <p:nvPr/>
        </p:nvSpPr>
        <p:spPr>
          <a:xfrm>
            <a:off x="632594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 기록관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크롤링</a:t>
            </a:r>
            <a:endParaRPr lang="ko-KR" altLang="en-US" sz="1200" b="1" u="sng" dirty="0"/>
          </a:p>
        </p:txBody>
      </p: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E9FF9466-1C8F-4180-E11B-C4826D662A0A}"/>
              </a:ext>
            </a:extLst>
          </p:cNvPr>
          <p:cNvSpPr/>
          <p:nvPr/>
        </p:nvSpPr>
        <p:spPr>
          <a:xfrm>
            <a:off x="531412" y="2204043"/>
            <a:ext cx="1967731" cy="862078"/>
          </a:xfrm>
          <a:prstGeom prst="roundRect">
            <a:avLst>
              <a:gd name="adj" fmla="val 1201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02B1BD8-B931-89C3-AB7B-CAC2B0C5F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6" t="22551" r="39208" b="20246"/>
          <a:stretch/>
        </p:blipFill>
        <p:spPr bwMode="auto">
          <a:xfrm>
            <a:off x="854162" y="2274982"/>
            <a:ext cx="543635" cy="71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DCE170D-0B8D-ED9A-6439-92170366E2E6}"/>
              </a:ext>
            </a:extLst>
          </p:cNvPr>
          <p:cNvGrpSpPr/>
          <p:nvPr/>
        </p:nvGrpSpPr>
        <p:grpSpPr>
          <a:xfrm>
            <a:off x="1676944" y="2271644"/>
            <a:ext cx="677510" cy="726877"/>
            <a:chOff x="1692271" y="2128442"/>
            <a:chExt cx="677510" cy="726877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6A98D051-BE96-C20D-0FB4-E0DC2A48BAD9}"/>
                </a:ext>
              </a:extLst>
            </p:cNvPr>
            <p:cNvSpPr txBox="1"/>
            <p:nvPr/>
          </p:nvSpPr>
          <p:spPr>
            <a:xfrm>
              <a:off x="1692271" y="2593709"/>
              <a:ext cx="677510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웹 페이지</a:t>
              </a:r>
              <a:endParaRPr lang="ko-KR" altLang="en-US" sz="1100" dirty="0"/>
            </a:p>
          </p:txBody>
        </p:sp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FDD34CA0-D922-D870-82E1-13575868C68B}"/>
                </a:ext>
              </a:extLst>
            </p:cNvPr>
            <p:cNvGrpSpPr/>
            <p:nvPr/>
          </p:nvGrpSpPr>
          <p:grpSpPr>
            <a:xfrm>
              <a:off x="1773896" y="2128442"/>
              <a:ext cx="514260" cy="514260"/>
              <a:chOff x="502644" y="3460460"/>
              <a:chExt cx="692120" cy="692120"/>
            </a:xfrm>
          </p:grpSpPr>
          <p:pic>
            <p:nvPicPr>
              <p:cNvPr id="2060" name="Picture 12" descr="Webpage Icons - Free SVG &amp; PNG Webpage Images - Noun Project">
                <a:extLst>
                  <a:ext uri="{FF2B5EF4-FFF2-40B4-BE49-F238E27FC236}">
                    <a16:creationId xmlns:a16="http://schemas.microsoft.com/office/drawing/2014/main" id="{6008911C-54EF-0A6B-D720-DE861B9CFE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44" y="3460460"/>
                <a:ext cx="692120" cy="692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5" name="그림 244">
                <a:extLst>
                  <a:ext uri="{FF2B5EF4-FFF2-40B4-BE49-F238E27FC236}">
                    <a16:creationId xmlns:a16="http://schemas.microsoft.com/office/drawing/2014/main" id="{8460C8B4-AF87-6F72-69EB-53DC71AB23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821" y="3642437"/>
                <a:ext cx="607766" cy="415213"/>
              </a:xfrm>
              <a:prstGeom prst="rect">
                <a:avLst/>
              </a:prstGeom>
            </p:spPr>
          </p:pic>
        </p:grpSp>
      </p:grpSp>
      <p:sp>
        <p:nvSpPr>
          <p:cNvPr id="267" name="사각형: 둥근 모서리 79">
            <a:extLst>
              <a:ext uri="{FF2B5EF4-FFF2-40B4-BE49-F238E27FC236}">
                <a16:creationId xmlns:a16="http://schemas.microsoft.com/office/drawing/2014/main" id="{7DB42A19-EA64-2E8B-850C-C5BC814924E5}"/>
              </a:ext>
            </a:extLst>
          </p:cNvPr>
          <p:cNvSpPr/>
          <p:nvPr/>
        </p:nvSpPr>
        <p:spPr>
          <a:xfrm>
            <a:off x="529908" y="4126669"/>
            <a:ext cx="1967731" cy="862078"/>
          </a:xfrm>
          <a:prstGeom prst="roundRect">
            <a:avLst>
              <a:gd name="adj" fmla="val 13248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4C08D72F-4E16-9DE7-F0D5-741EB80A3918}"/>
              </a:ext>
            </a:extLst>
          </p:cNvPr>
          <p:cNvGrpSpPr/>
          <p:nvPr/>
        </p:nvGrpSpPr>
        <p:grpSpPr>
          <a:xfrm>
            <a:off x="1684228" y="4205700"/>
            <a:ext cx="744746" cy="704017"/>
            <a:chOff x="1685645" y="4221465"/>
            <a:chExt cx="744746" cy="704017"/>
          </a:xfrm>
        </p:grpSpPr>
        <p:pic>
          <p:nvPicPr>
            <p:cNvPr id="2068" name="Picture 20">
              <a:extLst>
                <a:ext uri="{FF2B5EF4-FFF2-40B4-BE49-F238E27FC236}">
                  <a16:creationId xmlns:a16="http://schemas.microsoft.com/office/drawing/2014/main" id="{07BF3EC8-2107-D9A4-76AA-506DE4FB1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931" y="4221465"/>
              <a:ext cx="402175" cy="402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1EDA79EC-1F07-7338-2F7E-72DAEFB39364}"/>
                </a:ext>
              </a:extLst>
            </p:cNvPr>
            <p:cNvSpPr txBox="1"/>
            <p:nvPr/>
          </p:nvSpPr>
          <p:spPr>
            <a:xfrm>
              <a:off x="1685645" y="4663872"/>
              <a:ext cx="74474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1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엑셀 파일</a:t>
              </a:r>
            </a:p>
          </p:txBody>
        </p:sp>
      </p:grpSp>
      <p:pic>
        <p:nvPicPr>
          <p:cNvPr id="2072" name="Picture 24" descr="Microsoft Font is → Segoe Ui">
            <a:extLst>
              <a:ext uri="{FF2B5EF4-FFF2-40B4-BE49-F238E27FC236}">
                <a16:creationId xmlns:a16="http://schemas.microsoft.com/office/drawing/2014/main" id="{44D745D4-84CB-DB88-AB1A-2D916BEE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40" y="4246549"/>
            <a:ext cx="774479" cy="59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4ACFCE5-1007-A04B-83CF-315544824E7C}"/>
              </a:ext>
            </a:extLst>
          </p:cNvPr>
          <p:cNvSpPr txBox="1"/>
          <p:nvPr/>
        </p:nvSpPr>
        <p:spPr>
          <a:xfrm>
            <a:off x="3329932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분석 및 정제</a:t>
            </a:r>
            <a:endParaRPr lang="ko-KR" altLang="en-US" sz="1200" b="1" u="sng" dirty="0"/>
          </a:p>
        </p:txBody>
      </p:sp>
      <p:sp>
        <p:nvSpPr>
          <p:cNvPr id="266" name="사각형: 둥근 모서리 79">
            <a:extLst>
              <a:ext uri="{FF2B5EF4-FFF2-40B4-BE49-F238E27FC236}">
                <a16:creationId xmlns:a16="http://schemas.microsoft.com/office/drawing/2014/main" id="{4574BB5E-1E7B-0019-E485-03E05AB9686C}"/>
              </a:ext>
            </a:extLst>
          </p:cNvPr>
          <p:cNvSpPr/>
          <p:nvPr/>
        </p:nvSpPr>
        <p:spPr>
          <a:xfrm>
            <a:off x="531412" y="3165356"/>
            <a:ext cx="1967731" cy="862078"/>
          </a:xfrm>
          <a:prstGeom prst="roundRect">
            <a:avLst>
              <a:gd name="adj" fmla="val 13543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16EA1E80-F313-E2B1-ED03-9E8937BD484B}"/>
              </a:ext>
            </a:extLst>
          </p:cNvPr>
          <p:cNvGrpSpPr/>
          <p:nvPr/>
        </p:nvGrpSpPr>
        <p:grpSpPr>
          <a:xfrm>
            <a:off x="755517" y="3276133"/>
            <a:ext cx="740924" cy="711150"/>
            <a:chOff x="610906" y="3258585"/>
            <a:chExt cx="740924" cy="711150"/>
          </a:xfrm>
        </p:grpSpPr>
        <p:pic>
          <p:nvPicPr>
            <p:cNvPr id="2066" name="Picture 18" descr="Python (programming language) - Wikipedia">
              <a:extLst>
                <a:ext uri="{FF2B5EF4-FFF2-40B4-BE49-F238E27FC236}">
                  <a16:creationId xmlns:a16="http://schemas.microsoft.com/office/drawing/2014/main" id="{0E2D42C0-EF85-1CE3-1DEB-9ADE50BC0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58" y="325858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AF410AC-4AE5-88F8-D923-802588791CF4}"/>
                </a:ext>
              </a:extLst>
            </p:cNvPr>
            <p:cNvSpPr txBox="1"/>
            <p:nvPr/>
          </p:nvSpPr>
          <p:spPr>
            <a:xfrm>
              <a:off x="610906" y="3708125"/>
              <a:ext cx="740924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크롤링</a:t>
              </a:r>
              <a:endParaRPr lang="ko-KR" altLang="en-US" sz="1100" dirty="0"/>
            </a:p>
          </p:txBody>
        </p:sp>
      </p:grpSp>
      <p:grpSp>
        <p:nvGrpSpPr>
          <p:cNvPr id="271" name="그룹 270">
            <a:extLst>
              <a:ext uri="{FF2B5EF4-FFF2-40B4-BE49-F238E27FC236}">
                <a16:creationId xmlns:a16="http://schemas.microsoft.com/office/drawing/2014/main" id="{1893B48B-9035-663C-1E3D-8A1C10485B76}"/>
              </a:ext>
            </a:extLst>
          </p:cNvPr>
          <p:cNvGrpSpPr/>
          <p:nvPr/>
        </p:nvGrpSpPr>
        <p:grpSpPr>
          <a:xfrm>
            <a:off x="1683666" y="3205508"/>
            <a:ext cx="734311" cy="764198"/>
            <a:chOff x="1666400" y="3187960"/>
            <a:chExt cx="734311" cy="764198"/>
          </a:xfrm>
        </p:grpSpPr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AEE30BB5-CAB1-E4C7-6A72-36439D4E8B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1814801" y="3187960"/>
              <a:ext cx="437509" cy="492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1DDB1C4B-F4A7-E601-38CE-CF96167EEA59}"/>
                </a:ext>
              </a:extLst>
            </p:cNvPr>
            <p:cNvSpPr txBox="1"/>
            <p:nvPr/>
          </p:nvSpPr>
          <p:spPr>
            <a:xfrm>
              <a:off x="1666400" y="3708125"/>
              <a:ext cx="734311" cy="24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Data Frame</a:t>
              </a:r>
              <a:endParaRPr lang="ko-KR" altLang="en-US" sz="1100" dirty="0"/>
            </a:p>
          </p:txBody>
        </p:sp>
      </p:grpSp>
      <p:sp>
        <p:nvSpPr>
          <p:cNvPr id="284" name="타원 283">
            <a:extLst>
              <a:ext uri="{FF2B5EF4-FFF2-40B4-BE49-F238E27FC236}">
                <a16:creationId xmlns:a16="http://schemas.microsoft.com/office/drawing/2014/main" id="{8DC8F36E-F630-961C-E64C-B95366960538}"/>
              </a:ext>
            </a:extLst>
          </p:cNvPr>
          <p:cNvSpPr/>
          <p:nvPr/>
        </p:nvSpPr>
        <p:spPr>
          <a:xfrm>
            <a:off x="53141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5" name="타원 284">
            <a:extLst>
              <a:ext uri="{FF2B5EF4-FFF2-40B4-BE49-F238E27FC236}">
                <a16:creationId xmlns:a16="http://schemas.microsoft.com/office/drawing/2014/main" id="{81C497A3-1604-6486-A537-BDF61FE0E006}"/>
              </a:ext>
            </a:extLst>
          </p:cNvPr>
          <p:cNvSpPr/>
          <p:nvPr/>
        </p:nvSpPr>
        <p:spPr>
          <a:xfrm>
            <a:off x="53141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6" name="타원 285">
            <a:extLst>
              <a:ext uri="{FF2B5EF4-FFF2-40B4-BE49-F238E27FC236}">
                <a16:creationId xmlns:a16="http://schemas.microsoft.com/office/drawing/2014/main" id="{2D7FC6E7-9D56-2CFF-A13E-C7AABA5FBBEC}"/>
              </a:ext>
            </a:extLst>
          </p:cNvPr>
          <p:cNvSpPr/>
          <p:nvPr/>
        </p:nvSpPr>
        <p:spPr>
          <a:xfrm>
            <a:off x="52990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8" name="사각형: 둥근 모서리 79">
            <a:extLst>
              <a:ext uri="{FF2B5EF4-FFF2-40B4-BE49-F238E27FC236}">
                <a16:creationId xmlns:a16="http://schemas.microsoft.com/office/drawing/2014/main" id="{4E99D4A9-3645-70BF-9DEC-ADB16FFA4CAB}"/>
              </a:ext>
            </a:extLst>
          </p:cNvPr>
          <p:cNvSpPr/>
          <p:nvPr/>
        </p:nvSpPr>
        <p:spPr>
          <a:xfrm>
            <a:off x="3229502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9" name="사각형: 둥근 모서리 79">
            <a:extLst>
              <a:ext uri="{FF2B5EF4-FFF2-40B4-BE49-F238E27FC236}">
                <a16:creationId xmlns:a16="http://schemas.microsoft.com/office/drawing/2014/main" id="{BD8BA08F-995E-FBF2-D752-E1A449E931D1}"/>
              </a:ext>
            </a:extLst>
          </p:cNvPr>
          <p:cNvSpPr/>
          <p:nvPr/>
        </p:nvSpPr>
        <p:spPr>
          <a:xfrm>
            <a:off x="3227998" y="4126669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0" name="사각형: 둥근 모서리 79">
            <a:extLst>
              <a:ext uri="{FF2B5EF4-FFF2-40B4-BE49-F238E27FC236}">
                <a16:creationId xmlns:a16="http://schemas.microsoft.com/office/drawing/2014/main" id="{BD6B1DC1-D05F-8749-8155-840F4DF6D5BE}"/>
              </a:ext>
            </a:extLst>
          </p:cNvPr>
          <p:cNvSpPr/>
          <p:nvPr/>
        </p:nvSpPr>
        <p:spPr>
          <a:xfrm>
            <a:off x="3229502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2" name="타원 291">
            <a:extLst>
              <a:ext uri="{FF2B5EF4-FFF2-40B4-BE49-F238E27FC236}">
                <a16:creationId xmlns:a16="http://schemas.microsoft.com/office/drawing/2014/main" id="{D625871A-0A7E-AD80-03DF-53F49F2ABC6C}"/>
              </a:ext>
            </a:extLst>
          </p:cNvPr>
          <p:cNvSpPr/>
          <p:nvPr/>
        </p:nvSpPr>
        <p:spPr>
          <a:xfrm>
            <a:off x="322950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3" name="타원 292">
            <a:extLst>
              <a:ext uri="{FF2B5EF4-FFF2-40B4-BE49-F238E27FC236}">
                <a16:creationId xmlns:a16="http://schemas.microsoft.com/office/drawing/2014/main" id="{28FDD9D6-4E54-9CF6-7DB9-1552FFACEEB4}"/>
              </a:ext>
            </a:extLst>
          </p:cNvPr>
          <p:cNvSpPr/>
          <p:nvPr/>
        </p:nvSpPr>
        <p:spPr>
          <a:xfrm>
            <a:off x="322950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5F6C2CD1-81C4-B4E0-E773-890B5A4C9225}"/>
              </a:ext>
            </a:extLst>
          </p:cNvPr>
          <p:cNvSpPr/>
          <p:nvPr/>
        </p:nvSpPr>
        <p:spPr>
          <a:xfrm>
            <a:off x="322799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48D282FE-B012-6EF1-1DA0-3B82C1B48E2A}"/>
              </a:ext>
            </a:extLst>
          </p:cNvPr>
          <p:cNvGrpSpPr/>
          <p:nvPr/>
        </p:nvGrpSpPr>
        <p:grpSpPr>
          <a:xfrm>
            <a:off x="3372283" y="2297265"/>
            <a:ext cx="941938" cy="711150"/>
            <a:chOff x="3374417" y="2297265"/>
            <a:chExt cx="941938" cy="711150"/>
          </a:xfrm>
        </p:grpSpPr>
        <p:pic>
          <p:nvPicPr>
            <p:cNvPr id="305" name="Picture 18" descr="Python (programming language) - Wikipedia">
              <a:extLst>
                <a:ext uri="{FF2B5EF4-FFF2-40B4-BE49-F238E27FC236}">
                  <a16:creationId xmlns:a16="http://schemas.microsoft.com/office/drawing/2014/main" id="{82669A67-3DC5-533B-BE98-E6D9DDC195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B698AECF-17A3-AE73-A4A2-119839D5C5A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형태소 분석</a:t>
              </a:r>
              <a:endParaRPr lang="ko-KR" altLang="en-US" sz="1100" dirty="0"/>
            </a:p>
          </p:txBody>
        </p: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86E7A7F8-F89B-D7A0-2AB5-F32E7664CA6D}"/>
              </a:ext>
            </a:extLst>
          </p:cNvPr>
          <p:cNvSpPr txBox="1"/>
          <p:nvPr/>
        </p:nvSpPr>
        <p:spPr>
          <a:xfrm>
            <a:off x="4299076" y="2204043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명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동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형용사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BF7BA726-AD6F-98B2-95B9-529DC7788D0C}"/>
              </a:ext>
            </a:extLst>
          </p:cNvPr>
          <p:cNvSpPr txBox="1"/>
          <p:nvPr/>
        </p:nvSpPr>
        <p:spPr>
          <a:xfrm>
            <a:off x="4500795" y="2727567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3D4BF41D-8364-C8E0-73C5-C05AB7F5BF0E}"/>
              </a:ext>
            </a:extLst>
          </p:cNvPr>
          <p:cNvGrpSpPr/>
          <p:nvPr/>
        </p:nvGrpSpPr>
        <p:grpSpPr>
          <a:xfrm>
            <a:off x="3308511" y="3253880"/>
            <a:ext cx="1069482" cy="711150"/>
            <a:chOff x="3389021" y="3253880"/>
            <a:chExt cx="1069482" cy="711150"/>
          </a:xfrm>
        </p:grpSpPr>
        <p:pic>
          <p:nvPicPr>
            <p:cNvPr id="309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252" y="3253880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29241657-6516-92EF-C62B-928B02C349F8}"/>
                </a:ext>
              </a:extLst>
            </p:cNvPr>
            <p:cNvSpPr txBox="1"/>
            <p:nvPr/>
          </p:nvSpPr>
          <p:spPr>
            <a:xfrm>
              <a:off x="3389021" y="3703420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불용어</a:t>
              </a:r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 설정 및 제외</a:t>
              </a:r>
              <a:endParaRPr lang="ko-KR" altLang="en-US" sz="1100" dirty="0"/>
            </a:p>
          </p:txBody>
        </p:sp>
      </p:grpSp>
      <p:grpSp>
        <p:nvGrpSpPr>
          <p:cNvPr id="315" name="그룹 314">
            <a:extLst>
              <a:ext uri="{FF2B5EF4-FFF2-40B4-BE49-F238E27FC236}">
                <a16:creationId xmlns:a16="http://schemas.microsoft.com/office/drawing/2014/main" id="{71AF955D-8B2E-3457-C4E0-AD0CC41B3D80}"/>
              </a:ext>
            </a:extLst>
          </p:cNvPr>
          <p:cNvGrpSpPr/>
          <p:nvPr/>
        </p:nvGrpSpPr>
        <p:grpSpPr>
          <a:xfrm>
            <a:off x="3308511" y="4202133"/>
            <a:ext cx="1069482" cy="711150"/>
            <a:chOff x="3322793" y="4216197"/>
            <a:chExt cx="1069482" cy="711150"/>
          </a:xfrm>
        </p:grpSpPr>
        <p:pic>
          <p:nvPicPr>
            <p:cNvPr id="311" name="Picture 18" descr="Python (programming language) - Wikipedia">
              <a:extLst>
                <a:ext uri="{FF2B5EF4-FFF2-40B4-BE49-F238E27FC236}">
                  <a16:creationId xmlns:a16="http://schemas.microsoft.com/office/drawing/2014/main" id="{726286A6-1613-F20E-6294-DD8EA75D79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024" y="4216197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2E9E85FF-5E29-C6DE-4089-1EB3E680221B}"/>
                </a:ext>
              </a:extLst>
            </p:cNvPr>
            <p:cNvSpPr txBox="1"/>
            <p:nvPr/>
          </p:nvSpPr>
          <p:spPr>
            <a:xfrm>
              <a:off x="3322793" y="4665737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출현 빈도순 정렬</a:t>
              </a:r>
              <a:endParaRPr lang="ko-KR" altLang="en-US" sz="1100" dirty="0"/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64EF7BA7-BA36-F51C-C050-C73DBFEABAEE}"/>
              </a:ext>
            </a:extLst>
          </p:cNvPr>
          <p:cNvSpPr txBox="1"/>
          <p:nvPr/>
        </p:nvSpPr>
        <p:spPr>
          <a:xfrm>
            <a:off x="4291676" y="3165356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합니다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이며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058C9A0A-CB33-C674-EFE3-A5A174A2BA83}"/>
              </a:ext>
            </a:extLst>
          </p:cNvPr>
          <p:cNvSpPr txBox="1"/>
          <p:nvPr/>
        </p:nvSpPr>
        <p:spPr>
          <a:xfrm>
            <a:off x="4493395" y="3687831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645C9EBB-FB28-1FE0-890B-EF6432682A73}"/>
              </a:ext>
            </a:extLst>
          </p:cNvPr>
          <p:cNvSpPr txBox="1"/>
          <p:nvPr/>
        </p:nvSpPr>
        <p:spPr>
          <a:xfrm>
            <a:off x="4297572" y="4127718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회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평화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국민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4A4E259-E9B5-E6E9-0F35-18B6B2D228F8}"/>
              </a:ext>
            </a:extLst>
          </p:cNvPr>
          <p:cNvSpPr txBox="1"/>
          <p:nvPr/>
        </p:nvSpPr>
        <p:spPr>
          <a:xfrm>
            <a:off x="4499291" y="4650193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57" name="사각형: 둥근 모서리 79">
            <a:extLst>
              <a:ext uri="{FF2B5EF4-FFF2-40B4-BE49-F238E27FC236}">
                <a16:creationId xmlns:a16="http://schemas.microsoft.com/office/drawing/2014/main" id="{1824356C-14A2-12E0-9B98-EFEAF988CE7B}"/>
              </a:ext>
            </a:extLst>
          </p:cNvPr>
          <p:cNvSpPr/>
          <p:nvPr/>
        </p:nvSpPr>
        <p:spPr>
          <a:xfrm>
            <a:off x="5926840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1" name="사각형: 둥근 모서리 79">
            <a:extLst>
              <a:ext uri="{FF2B5EF4-FFF2-40B4-BE49-F238E27FC236}">
                <a16:creationId xmlns:a16="http://schemas.microsoft.com/office/drawing/2014/main" id="{EDCA3C93-EDAF-0399-DB8E-E165590FD85C}"/>
              </a:ext>
            </a:extLst>
          </p:cNvPr>
          <p:cNvSpPr/>
          <p:nvPr/>
        </p:nvSpPr>
        <p:spPr>
          <a:xfrm>
            <a:off x="5926840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A9B567FD-84D9-2BEC-FC3C-4BEDB1DD99B4}"/>
              </a:ext>
            </a:extLst>
          </p:cNvPr>
          <p:cNvSpPr txBox="1"/>
          <p:nvPr/>
        </p:nvSpPr>
        <p:spPr>
          <a:xfrm>
            <a:off x="6307069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ko-KR" altLang="en-US" sz="1200" b="1" u="sng" dirty="0"/>
          </a:p>
        </p:txBody>
      </p:sp>
      <p:grpSp>
        <p:nvGrpSpPr>
          <p:cNvPr id="2071" name="그룹 2070">
            <a:extLst>
              <a:ext uri="{FF2B5EF4-FFF2-40B4-BE49-F238E27FC236}">
                <a16:creationId xmlns:a16="http://schemas.microsoft.com/office/drawing/2014/main" id="{459EF08A-FD26-0FFB-5292-C7B5B5704C64}"/>
              </a:ext>
            </a:extLst>
          </p:cNvPr>
          <p:cNvGrpSpPr/>
          <p:nvPr/>
        </p:nvGrpSpPr>
        <p:grpSpPr>
          <a:xfrm>
            <a:off x="5926840" y="2279507"/>
            <a:ext cx="941938" cy="711150"/>
            <a:chOff x="3374417" y="2297265"/>
            <a:chExt cx="941938" cy="711150"/>
          </a:xfrm>
        </p:grpSpPr>
        <p:pic>
          <p:nvPicPr>
            <p:cNvPr id="2073" name="Picture 18" descr="Python (programming language) - Wikipedia">
              <a:extLst>
                <a:ext uri="{FF2B5EF4-FFF2-40B4-BE49-F238E27FC236}">
                  <a16:creationId xmlns:a16="http://schemas.microsoft.com/office/drawing/2014/main" id="{3B49D554-FF9F-D484-4702-DDE9F315C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D4F36ED4-529E-AD5D-FF35-02D9D3B3379A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워드클라우드</a:t>
              </a:r>
              <a:endParaRPr lang="ko-KR" altLang="en-US" sz="1100" dirty="0"/>
            </a:p>
          </p:txBody>
        </p:sp>
      </p:grpSp>
      <p:grpSp>
        <p:nvGrpSpPr>
          <p:cNvPr id="2081" name="그룹 2080">
            <a:extLst>
              <a:ext uri="{FF2B5EF4-FFF2-40B4-BE49-F238E27FC236}">
                <a16:creationId xmlns:a16="http://schemas.microsoft.com/office/drawing/2014/main" id="{4C4A3247-9DC6-0278-B688-2BCAB545F992}"/>
              </a:ext>
            </a:extLst>
          </p:cNvPr>
          <p:cNvGrpSpPr/>
          <p:nvPr/>
        </p:nvGrpSpPr>
        <p:grpSpPr>
          <a:xfrm>
            <a:off x="5926840" y="3240820"/>
            <a:ext cx="941938" cy="711150"/>
            <a:chOff x="6070453" y="3293393"/>
            <a:chExt cx="941938" cy="711150"/>
          </a:xfrm>
        </p:grpSpPr>
        <p:pic>
          <p:nvPicPr>
            <p:cNvPr id="2079" name="Picture 18" descr="Python (programming language) - Wikipedia">
              <a:extLst>
                <a:ext uri="{FF2B5EF4-FFF2-40B4-BE49-F238E27FC236}">
                  <a16:creationId xmlns:a16="http://schemas.microsoft.com/office/drawing/2014/main" id="{BD0BCA72-D20F-1974-B2C7-E26BAE4B0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912" y="3293393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CA37A773-05C0-1336-3DA1-CF09D198C98F}"/>
                </a:ext>
              </a:extLst>
            </p:cNvPr>
            <p:cNvSpPr txBox="1"/>
            <p:nvPr/>
          </p:nvSpPr>
          <p:spPr>
            <a:xfrm>
              <a:off x="6070453" y="3742933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막대 그래프</a:t>
              </a:r>
              <a:endParaRPr lang="ko-KR" altLang="en-US" sz="1100" dirty="0"/>
            </a:p>
          </p:txBody>
        </p:sp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09253D0E-3CEA-8D90-8F08-50277A4A6BCB}"/>
              </a:ext>
            </a:extLst>
          </p:cNvPr>
          <p:cNvSpPr txBox="1"/>
          <p:nvPr/>
        </p:nvSpPr>
        <p:spPr>
          <a:xfrm>
            <a:off x="9004405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2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200" b="1" u="sng" dirty="0"/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3C6BC51-D0F7-0B9B-0359-CF8DA5B5BA71}"/>
              </a:ext>
            </a:extLst>
          </p:cNvPr>
          <p:cNvSpPr txBox="1"/>
          <p:nvPr/>
        </p:nvSpPr>
        <p:spPr>
          <a:xfrm>
            <a:off x="6665254" y="2392516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DFDE0621-E735-176C-B310-33F7627E9B44}"/>
              </a:ext>
            </a:extLst>
          </p:cNvPr>
          <p:cNvSpPr txBox="1"/>
          <p:nvPr/>
        </p:nvSpPr>
        <p:spPr>
          <a:xfrm>
            <a:off x="6673654" y="3353829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87" name="그룹 2086">
            <a:extLst>
              <a:ext uri="{FF2B5EF4-FFF2-40B4-BE49-F238E27FC236}">
                <a16:creationId xmlns:a16="http://schemas.microsoft.com/office/drawing/2014/main" id="{EF7F9D5F-BB51-B9DD-60E5-F2083E52369A}"/>
              </a:ext>
            </a:extLst>
          </p:cNvPr>
          <p:cNvGrpSpPr/>
          <p:nvPr/>
        </p:nvGrpSpPr>
        <p:grpSpPr>
          <a:xfrm>
            <a:off x="5926088" y="4184970"/>
            <a:ext cx="1967731" cy="805766"/>
            <a:chOff x="5926840" y="4184970"/>
            <a:chExt cx="1967731" cy="805766"/>
          </a:xfrm>
        </p:grpSpPr>
        <p:pic>
          <p:nvPicPr>
            <p:cNvPr id="2085" name="그림 2084">
              <a:extLst>
                <a:ext uri="{FF2B5EF4-FFF2-40B4-BE49-F238E27FC236}">
                  <a16:creationId xmlns:a16="http://schemas.microsoft.com/office/drawing/2014/main" id="{C10DC4A8-44AE-D202-8F3C-9BC7ECE60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5926840" y="4184970"/>
              <a:ext cx="801563" cy="8037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6" name="Picture 28" descr="Python Charts - Beautiful Bar Charts in Matplotlib">
              <a:extLst>
                <a:ext uri="{FF2B5EF4-FFF2-40B4-BE49-F238E27FC236}">
                  <a16:creationId xmlns:a16="http://schemas.microsoft.com/office/drawing/2014/main" id="{9A2C6F8B-AE9C-4729-297C-1F392B549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4503" y="4184970"/>
              <a:ext cx="1080068" cy="8057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094" name="사각형: 둥근 모서리 79">
            <a:extLst>
              <a:ext uri="{FF2B5EF4-FFF2-40B4-BE49-F238E27FC236}">
                <a16:creationId xmlns:a16="http://schemas.microsoft.com/office/drawing/2014/main" id="{DE4F94F0-777A-AB23-1B70-47C84B85E48E}"/>
              </a:ext>
            </a:extLst>
          </p:cNvPr>
          <p:cNvSpPr/>
          <p:nvPr/>
        </p:nvSpPr>
        <p:spPr>
          <a:xfrm>
            <a:off x="8623424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93" name="그룹 2092">
            <a:extLst>
              <a:ext uri="{FF2B5EF4-FFF2-40B4-BE49-F238E27FC236}">
                <a16:creationId xmlns:a16="http://schemas.microsoft.com/office/drawing/2014/main" id="{D1E272C7-0D49-0365-86C1-A93443E5326E}"/>
              </a:ext>
            </a:extLst>
          </p:cNvPr>
          <p:cNvGrpSpPr/>
          <p:nvPr/>
        </p:nvGrpSpPr>
        <p:grpSpPr>
          <a:xfrm>
            <a:off x="8694943" y="3253813"/>
            <a:ext cx="908884" cy="685165"/>
            <a:chOff x="9261791" y="2448462"/>
            <a:chExt cx="908884" cy="685165"/>
          </a:xfrm>
        </p:grpSpPr>
        <p:pic>
          <p:nvPicPr>
            <p:cNvPr id="208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40A5E03C-0DDA-C7D3-EFEC-EED8DF1EB6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699105F9-D27D-4077-05A9-A8F12AA40D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0CFDD199-BCE5-0435-3578-EB43503415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1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3553FC4-B0B1-31A5-33EE-E965216370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2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DABAFCA-50CC-CC3D-532E-4D14D6B8F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095" name="그룹 2094">
            <a:extLst>
              <a:ext uri="{FF2B5EF4-FFF2-40B4-BE49-F238E27FC236}">
                <a16:creationId xmlns:a16="http://schemas.microsoft.com/office/drawing/2014/main" id="{8C1C5C9C-F1D8-4234-0B0C-0FCA2F014D41}"/>
              </a:ext>
            </a:extLst>
          </p:cNvPr>
          <p:cNvGrpSpPr/>
          <p:nvPr/>
        </p:nvGrpSpPr>
        <p:grpSpPr>
          <a:xfrm>
            <a:off x="8623424" y="2279507"/>
            <a:ext cx="941938" cy="711150"/>
            <a:chOff x="3374417" y="2297265"/>
            <a:chExt cx="941938" cy="711150"/>
          </a:xfrm>
        </p:grpSpPr>
        <p:pic>
          <p:nvPicPr>
            <p:cNvPr id="2096" name="Picture 18" descr="Python (programming language) - Wikipedia">
              <a:extLst>
                <a:ext uri="{FF2B5EF4-FFF2-40B4-BE49-F238E27FC236}">
                  <a16:creationId xmlns:a16="http://schemas.microsoft.com/office/drawing/2014/main" id="{D9EB7798-64B4-BC80-93E5-DA2A5F591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7" name="TextBox 2096">
              <a:extLst>
                <a:ext uri="{FF2B5EF4-FFF2-40B4-BE49-F238E27FC236}">
                  <a16:creationId xmlns:a16="http://schemas.microsoft.com/office/drawing/2014/main" id="{4EEF46E0-1AD9-86A4-F0AB-061AEDC1B31B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2098" name="TextBox 2097">
            <a:extLst>
              <a:ext uri="{FF2B5EF4-FFF2-40B4-BE49-F238E27FC236}">
                <a16:creationId xmlns:a16="http://schemas.microsoft.com/office/drawing/2014/main" id="{2622A9BE-8B49-9822-6FED-B4D68ED7F954}"/>
              </a:ext>
            </a:extLst>
          </p:cNvPr>
          <p:cNvSpPr txBox="1"/>
          <p:nvPr/>
        </p:nvSpPr>
        <p:spPr>
          <a:xfrm>
            <a:off x="9649216" y="2284217"/>
            <a:ext cx="941939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99" name="Picture 32">
            <a:extLst>
              <a:ext uri="{FF2B5EF4-FFF2-40B4-BE49-F238E27FC236}">
                <a16:creationId xmlns:a16="http://schemas.microsoft.com/office/drawing/2014/main" id="{ABFC46D7-EB9E-81E7-F5F8-442B926A8B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9934603" y="3259592"/>
            <a:ext cx="656553" cy="673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1" name="Picture 36">
            <a:extLst>
              <a:ext uri="{FF2B5EF4-FFF2-40B4-BE49-F238E27FC236}">
                <a16:creationId xmlns:a16="http://schemas.microsoft.com/office/drawing/2014/main" id="{365AC6EC-764F-5544-3F8B-B480D114C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9224511" y="4252094"/>
            <a:ext cx="765556" cy="73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3" name="Google Shape;1607;p163">
            <a:extLst>
              <a:ext uri="{FF2B5EF4-FFF2-40B4-BE49-F238E27FC236}">
                <a16:creationId xmlns:a16="http://schemas.microsoft.com/office/drawing/2014/main" id="{D8BC0BD4-647F-AD68-F818-4300DBD69335}"/>
              </a:ext>
            </a:extLst>
          </p:cNvPr>
          <p:cNvSpPr/>
          <p:nvPr/>
        </p:nvSpPr>
        <p:spPr>
          <a:xfrm>
            <a:off x="345277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5" name="Google Shape;1607;p163">
            <a:extLst>
              <a:ext uri="{FF2B5EF4-FFF2-40B4-BE49-F238E27FC236}">
                <a16:creationId xmlns:a16="http://schemas.microsoft.com/office/drawing/2014/main" id="{96049EAD-23C5-33DE-97D9-734454145DA0}"/>
              </a:ext>
            </a:extLst>
          </p:cNvPr>
          <p:cNvSpPr/>
          <p:nvPr/>
        </p:nvSpPr>
        <p:spPr>
          <a:xfrm>
            <a:off x="3042615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6" name="오른쪽 화살표 89">
            <a:extLst>
              <a:ext uri="{FF2B5EF4-FFF2-40B4-BE49-F238E27FC236}">
                <a16:creationId xmlns:a16="http://schemas.microsoft.com/office/drawing/2014/main" id="{A6155F0B-1E2E-3F48-B7B7-5C1A9A0C62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4043522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7" name="Google Shape;1607;p163">
            <a:extLst>
              <a:ext uri="{FF2B5EF4-FFF2-40B4-BE49-F238E27FC236}">
                <a16:creationId xmlns:a16="http://schemas.microsoft.com/office/drawing/2014/main" id="{AE96D137-C224-B548-427B-FD28B27A9647}"/>
              </a:ext>
            </a:extLst>
          </p:cNvPr>
          <p:cNvSpPr/>
          <p:nvPr/>
        </p:nvSpPr>
        <p:spPr>
          <a:xfrm>
            <a:off x="5739953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8" name="오른쪽 화살표 89">
            <a:extLst>
              <a:ext uri="{FF2B5EF4-FFF2-40B4-BE49-F238E27FC236}">
                <a16:creationId xmlns:a16="http://schemas.microsoft.com/office/drawing/2014/main" id="{0F8D7A4A-3979-2D2B-3F41-2C246C90DE7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6740860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9" name="Google Shape;1607;p163">
            <a:extLst>
              <a:ext uri="{FF2B5EF4-FFF2-40B4-BE49-F238E27FC236}">
                <a16:creationId xmlns:a16="http://schemas.microsoft.com/office/drawing/2014/main" id="{D48E525D-E90A-15E0-4105-30532E562E86}"/>
              </a:ext>
            </a:extLst>
          </p:cNvPr>
          <p:cNvSpPr/>
          <p:nvPr/>
        </p:nvSpPr>
        <p:spPr>
          <a:xfrm>
            <a:off x="8437289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0" name="오른쪽 화살표 89">
            <a:extLst>
              <a:ext uri="{FF2B5EF4-FFF2-40B4-BE49-F238E27FC236}">
                <a16:creationId xmlns:a16="http://schemas.microsoft.com/office/drawing/2014/main" id="{5F7549E5-9E3C-A06A-AEBA-6D6A82D142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9438196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D465CC51-7E97-222D-73B2-4F5A1D576F9A}"/>
              </a:ext>
            </a:extLst>
          </p:cNvPr>
          <p:cNvSpPr txBox="1"/>
          <p:nvPr/>
        </p:nvSpPr>
        <p:spPr>
          <a:xfrm>
            <a:off x="444916" y="5456650"/>
            <a:ext cx="222216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Request / 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eautifulSoup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98D40757-DB18-C256-3D19-64983CB44F2A}"/>
              </a:ext>
            </a:extLst>
          </p:cNvPr>
          <p:cNvSpPr txBox="1"/>
          <p:nvPr/>
        </p:nvSpPr>
        <p:spPr>
          <a:xfrm>
            <a:off x="5739953" y="5490040"/>
            <a:ext cx="1239609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tplotlip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ordcloud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PIL</a:t>
            </a:r>
            <a:endParaRPr lang="ko-KR" altLang="en-US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6" name="TextBox 2115">
            <a:extLst>
              <a:ext uri="{FF2B5EF4-FFF2-40B4-BE49-F238E27FC236}">
                <a16:creationId xmlns:a16="http://schemas.microsoft.com/office/drawing/2014/main" id="{14F3CC34-A313-6AFE-2331-4CD14D2CC636}"/>
              </a:ext>
            </a:extLst>
          </p:cNvPr>
          <p:cNvSpPr txBox="1"/>
          <p:nvPr/>
        </p:nvSpPr>
        <p:spPr>
          <a:xfrm>
            <a:off x="9150992" y="5456650"/>
            <a:ext cx="9125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128" name="그룹 2127">
            <a:extLst>
              <a:ext uri="{FF2B5EF4-FFF2-40B4-BE49-F238E27FC236}">
                <a16:creationId xmlns:a16="http://schemas.microsoft.com/office/drawing/2014/main" id="{B87EBA98-8A78-2AF2-01C4-71578FF274EB}"/>
              </a:ext>
            </a:extLst>
          </p:cNvPr>
          <p:cNvGrpSpPr/>
          <p:nvPr/>
        </p:nvGrpSpPr>
        <p:grpSpPr>
          <a:xfrm>
            <a:off x="489272" y="5779595"/>
            <a:ext cx="2052011" cy="455133"/>
            <a:chOff x="615066" y="5857182"/>
            <a:chExt cx="2052011" cy="455133"/>
          </a:xfrm>
        </p:grpSpPr>
        <p:pic>
          <p:nvPicPr>
            <p:cNvPr id="2120" name="Picture 46">
              <a:extLst>
                <a:ext uri="{FF2B5EF4-FFF2-40B4-BE49-F238E27FC236}">
                  <a16:creationId xmlns:a16="http://schemas.microsoft.com/office/drawing/2014/main" id="{23A33D4E-026B-BB14-F108-657A06826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4564" y="5869764"/>
              <a:ext cx="1232513" cy="44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2" name="Picture 50" descr="With request lib deprecated for some time now, what do you use to make  requests in Node.js? : r/node">
              <a:extLst>
                <a:ext uri="{FF2B5EF4-FFF2-40B4-BE49-F238E27FC236}">
                  <a16:creationId xmlns:a16="http://schemas.microsoft.com/office/drawing/2014/main" id="{D8D5405E-EF36-27FD-D0F2-E39E5C8DBA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066" y="5857182"/>
              <a:ext cx="445929" cy="445929"/>
            </a:xfrm>
            <a:prstGeom prst="roundRect">
              <a:avLst>
                <a:gd name="adj" fmla="val 47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124" name="TextBox 2123">
            <a:extLst>
              <a:ext uri="{FF2B5EF4-FFF2-40B4-BE49-F238E27FC236}">
                <a16:creationId xmlns:a16="http://schemas.microsoft.com/office/drawing/2014/main" id="{E2DC9C28-0942-F669-3AEC-E65502EAB8E7}"/>
              </a:ext>
            </a:extLst>
          </p:cNvPr>
          <p:cNvSpPr txBox="1"/>
          <p:nvPr/>
        </p:nvSpPr>
        <p:spPr>
          <a:xfrm>
            <a:off x="3075198" y="5487130"/>
            <a:ext cx="1643105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nlpy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(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moran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collections (Counter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re</a:t>
            </a:r>
          </a:p>
        </p:txBody>
      </p:sp>
      <p:sp>
        <p:nvSpPr>
          <p:cNvPr id="2127" name="오른쪽 화살표 89">
            <a:extLst>
              <a:ext uri="{FF2B5EF4-FFF2-40B4-BE49-F238E27FC236}">
                <a16:creationId xmlns:a16="http://schemas.microsoft.com/office/drawing/2014/main" id="{52342057-AFBA-8688-0E1E-5FEA5CCB38B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1346184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129" name="Picture 52">
            <a:extLst>
              <a:ext uri="{FF2B5EF4-FFF2-40B4-BE49-F238E27FC236}">
                <a16:creationId xmlns:a16="http://schemas.microsoft.com/office/drawing/2014/main" id="{46BC81A9-757A-CCFC-E271-F0035DB9E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154" y="5602540"/>
            <a:ext cx="499105" cy="59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34" name="그룹 2133">
            <a:extLst>
              <a:ext uri="{FF2B5EF4-FFF2-40B4-BE49-F238E27FC236}">
                <a16:creationId xmlns:a16="http://schemas.microsoft.com/office/drawing/2014/main" id="{BDE688E3-E34A-BAF6-0784-ABF31FE11343}"/>
              </a:ext>
            </a:extLst>
          </p:cNvPr>
          <p:cNvGrpSpPr/>
          <p:nvPr/>
        </p:nvGrpSpPr>
        <p:grpSpPr>
          <a:xfrm>
            <a:off x="8519823" y="5765447"/>
            <a:ext cx="2174933" cy="373534"/>
            <a:chOff x="8513387" y="5765447"/>
            <a:chExt cx="2174933" cy="373534"/>
          </a:xfrm>
        </p:grpSpPr>
        <p:pic>
          <p:nvPicPr>
            <p:cNvPr id="2130" name="Picture 54">
              <a:extLst>
                <a:ext uri="{FF2B5EF4-FFF2-40B4-BE49-F238E27FC236}">
                  <a16:creationId xmlns:a16="http://schemas.microsoft.com/office/drawing/2014/main" id="{6DBC066C-2681-41DF-6E83-CFCFDA8DF6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t="23645" r="18400" b="21739"/>
            <a:stretch/>
          </p:blipFill>
          <p:spPr bwMode="auto">
            <a:xfrm>
              <a:off x="8513387" y="5765447"/>
              <a:ext cx="813708" cy="373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2" name="Picture 56" descr="Python logo vector - Download logo Python vector">
              <a:extLst>
                <a:ext uri="{FF2B5EF4-FFF2-40B4-BE49-F238E27FC236}">
                  <a16:creationId xmlns:a16="http://schemas.microsoft.com/office/drawing/2014/main" id="{64BA06E8-CA89-6825-57F8-0BB8254C4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36" b="34984"/>
            <a:stretch/>
          </p:blipFill>
          <p:spPr bwMode="auto">
            <a:xfrm>
              <a:off x="9434110" y="5768598"/>
              <a:ext cx="1254210" cy="36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36" name="그림 2135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676282" y="5739860"/>
            <a:ext cx="1355006" cy="32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B590113-E032-991B-8BD3-701469158446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C5A7F615-76B6-31B5-9BB7-3DEAAC2D79EE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삼각형 1">
            <a:extLst>
              <a:ext uri="{FF2B5EF4-FFF2-40B4-BE49-F238E27FC236}">
                <a16:creationId xmlns:a16="http://schemas.microsoft.com/office/drawing/2014/main" id="{83F99750-F79F-DC77-1FF5-58FB792F165D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" name="삼각형 1">
            <a:extLst>
              <a:ext uri="{FF2B5EF4-FFF2-40B4-BE49-F238E27FC236}">
                <a16:creationId xmlns:a16="http://schemas.microsoft.com/office/drawing/2014/main" id="{E5BFEA01-BE00-1EBA-ADFB-062730621E7F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235361-F0FF-402F-4523-883EF581F1E7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539BDB-E880-7136-AC0B-37A27577609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2050" name="Picture 2" descr="코드 기호가있는 html 파일 - 무료 상호 작용개 아이콘">
            <a:hlinkClick r:id="rId13"/>
            <a:extLst>
              <a:ext uri="{FF2B5EF4-FFF2-40B4-BE49-F238E27FC236}">
                <a16:creationId xmlns:a16="http://schemas.microsoft.com/office/drawing/2014/main" id="{5348FF02-6E73-5DC8-0821-84A98EAE1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r="12272"/>
          <a:stretch/>
        </p:blipFill>
        <p:spPr bwMode="auto">
          <a:xfrm>
            <a:off x="4868256" y="2334374"/>
            <a:ext cx="684834" cy="90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E7F6F4C-A1ED-F1E5-97C1-234A684DDBCF}"/>
              </a:ext>
            </a:extLst>
          </p:cNvPr>
          <p:cNvSpPr>
            <a:spLocks/>
          </p:cNvSpPr>
          <p:nvPr/>
        </p:nvSpPr>
        <p:spPr>
          <a:xfrm>
            <a:off x="6193171" y="2182118"/>
            <a:ext cx="3907704" cy="75625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D83264-74FD-263C-9FF7-F897FFF3346F}"/>
              </a:ext>
            </a:extLst>
          </p:cNvPr>
          <p:cNvSpPr txBox="1"/>
          <p:nvPr/>
        </p:nvSpPr>
        <p:spPr>
          <a:xfrm>
            <a:off x="6432418" y="2237081"/>
            <a:ext cx="34292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ko-KR" altLang="en-US" dirty="0"/>
              <a:t># </a:t>
            </a:r>
            <a:r>
              <a:rPr lang="en-US" altLang="ko-KR" dirty="0" err="1"/>
              <a:t>artid</a:t>
            </a:r>
            <a:r>
              <a:rPr lang="en-US" altLang="ko-KR" dirty="0"/>
              <a:t> </a:t>
            </a:r>
            <a:r>
              <a:rPr lang="ko-KR" altLang="en-US" dirty="0"/>
              <a:t>기준으로 </a:t>
            </a:r>
            <a:r>
              <a:rPr lang="en-US" altLang="ko-KR" dirty="0"/>
              <a:t>HTML</a:t>
            </a:r>
            <a:r>
              <a:rPr lang="ko-KR" altLang="en-US" dirty="0"/>
              <a:t>에서 연설 내용 </a:t>
            </a:r>
            <a:r>
              <a:rPr lang="ko-KR" altLang="en-US" dirty="0" smtClean="0"/>
              <a:t>추출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# </a:t>
            </a:r>
            <a:r>
              <a:rPr lang="ko-KR" altLang="en-US" dirty="0"/>
              <a:t>연설 내용을 엑셀파일에 저장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7CBFD3-D03B-65E8-106B-08A3543B3291}"/>
              </a:ext>
            </a:extLst>
          </p:cNvPr>
          <p:cNvSpPr txBox="1"/>
          <p:nvPr/>
        </p:nvSpPr>
        <p:spPr>
          <a:xfrm>
            <a:off x="7133072" y="1771665"/>
            <a:ext cx="2050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웹크롤링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주요 기능</a:t>
            </a:r>
          </a:p>
        </p:txBody>
      </p:sp>
      <p:pic>
        <p:nvPicPr>
          <p:cNvPr id="43" name="Picture 20">
            <a:hlinkClick r:id="rId15" action="ppaction://hlinkfile"/>
            <a:extLst>
              <a:ext uri="{FF2B5EF4-FFF2-40B4-BE49-F238E27FC236}">
                <a16:creationId xmlns:a16="http://schemas.microsoft.com/office/drawing/2014/main" id="{73C88E90-4F68-32D7-9FE5-DDC1519E6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8CB6DB31-819B-EBFD-EC08-A23FBB55FDB1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19E148-1ACE-6491-6C61-7A7602F7353B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55B12A-3CF6-5D83-596F-58A57C59F30D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3674791-8B46-BBC4-1425-C91E8F46B464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7D14947-29C5-03EE-7891-3E46828A02FA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A03F853-4E3F-F2C0-029E-5C682ABDF88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20E3920-8487-D4B3-D853-C196AC6AF4EE}"/>
              </a:ext>
            </a:extLst>
          </p:cNvPr>
          <p:cNvSpPr txBox="1"/>
          <p:nvPr/>
        </p:nvSpPr>
        <p:spPr>
          <a:xfrm>
            <a:off x="4849384" y="1887270"/>
            <a:ext cx="72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rtid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dirty="0"/>
          </a:p>
        </p:txBody>
      </p: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41FCCB0D-8139-BBFD-63FD-4E476D313ACB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2DE828C-A08B-7F67-757F-49D7CB0CC1FF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A17319-342E-6182-3E90-8D3FB0273DC5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F00D497-66E6-62FB-38CF-649419405462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1BA244-DC53-15F3-CE86-C745CE549E0F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FDE0EBE-27AE-B71F-B83A-6214BEF1619D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C1F8397-DFEA-D934-D064-1821F60BA8C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59DB8D-72CF-166A-09BA-243CF3C42975}"/>
              </a:ext>
            </a:extLst>
          </p:cNvPr>
          <p:cNvSpPr txBox="1"/>
          <p:nvPr/>
        </p:nvSpPr>
        <p:spPr>
          <a:xfrm>
            <a:off x="6858847" y="3769395"/>
            <a:ext cx="25860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 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추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0297625F-E610-8387-FD25-C698C390674E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246320" y="4366277"/>
            <a:ext cx="3811110" cy="1208097"/>
            <a:chOff x="6250250" y="3876816"/>
            <a:chExt cx="3811110" cy="1208097"/>
          </a:xfrm>
        </p:grpSpPr>
        <p:pic>
          <p:nvPicPr>
            <p:cNvPr id="2054" name="Picture 6" descr="List icon - Free download on Iconfinder">
              <a:extLst>
                <a:ext uri="{FF2B5EF4-FFF2-40B4-BE49-F238E27FC236}">
                  <a16:creationId xmlns:a16="http://schemas.microsoft.com/office/drawing/2014/main" id="{EDAB6EA6-0F3F-7B8A-DFB1-20DF1D1568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496195" y="4175290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7EECF62-29F9-7FAB-17BC-3A8C9233BDD9}"/>
                </a:ext>
              </a:extLst>
            </p:cNvPr>
            <p:cNvSpPr txBox="1"/>
            <p:nvPr/>
          </p:nvSpPr>
          <p:spPr>
            <a:xfrm>
              <a:off x="8542231" y="4739036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59" name="Picture 22">
              <a:extLst>
                <a:ext uri="{FF2B5EF4-FFF2-40B4-BE49-F238E27FC236}">
                  <a16:creationId xmlns:a16="http://schemas.microsoft.com/office/drawing/2014/main" id="{22949FF4-C240-9D68-2396-055F156E1D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46464" y="4054086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49988F6-62B4-09D3-C9E0-867A1C83BE60}"/>
                </a:ext>
              </a:extLst>
            </p:cNvPr>
            <p:cNvSpPr txBox="1"/>
            <p:nvPr/>
          </p:nvSpPr>
          <p:spPr>
            <a:xfrm>
              <a:off x="9125758" y="4739036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9A3537E-0E53-4405-7D7A-975CFE45F2C2}"/>
                </a:ext>
              </a:extLst>
            </p:cNvPr>
            <p:cNvSpPr txBox="1"/>
            <p:nvPr/>
          </p:nvSpPr>
          <p:spPr>
            <a:xfrm>
              <a:off x="7570973" y="4739036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ps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2056" name="Picture 8" descr="Python file symbol - Free interface icons">
              <a:hlinkClick r:id="rId17" action="ppaction://hlinkfile"/>
              <a:extLst>
                <a:ext uri="{FF2B5EF4-FFF2-40B4-BE49-F238E27FC236}">
                  <a16:creationId xmlns:a16="http://schemas.microsoft.com/office/drawing/2014/main" id="{466C679A-85E2-3E25-A8D2-C3DED1C33E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703672" y="4033689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0" name="그룹 109">
              <a:extLst>
                <a:ext uri="{FF2B5EF4-FFF2-40B4-BE49-F238E27FC236}">
                  <a16:creationId xmlns:a16="http://schemas.microsoft.com/office/drawing/2014/main" id="{70C97F80-B820-FE3F-0730-4AA55E410E10}"/>
                </a:ext>
              </a:extLst>
            </p:cNvPr>
            <p:cNvGrpSpPr/>
            <p:nvPr/>
          </p:nvGrpSpPr>
          <p:grpSpPr>
            <a:xfrm>
              <a:off x="6250250" y="3876816"/>
              <a:ext cx="1124107" cy="1208097"/>
              <a:chOff x="6250250" y="4476490"/>
              <a:chExt cx="1124107" cy="1208097"/>
            </a:xfrm>
          </p:grpSpPr>
          <p:pic>
            <p:nvPicPr>
              <p:cNvPr id="93" name="그림 92">
                <a:extLst>
                  <a:ext uri="{FF2B5EF4-FFF2-40B4-BE49-F238E27FC236}">
                    <a16:creationId xmlns:a16="http://schemas.microsoft.com/office/drawing/2014/main" id="{895C3C28-C363-D55E-CF23-22C99B00D0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250250" y="4476490"/>
                <a:ext cx="1124107" cy="257211"/>
              </a:xfrm>
              <a:prstGeom prst="rect">
                <a:avLst/>
              </a:prstGeom>
            </p:spPr>
          </p:pic>
          <p:pic>
            <p:nvPicPr>
              <p:cNvPr id="100" name="그림 99">
                <a:extLst>
                  <a:ext uri="{FF2B5EF4-FFF2-40B4-BE49-F238E27FC236}">
                    <a16:creationId xmlns:a16="http://schemas.microsoft.com/office/drawing/2014/main" id="{CF8DEF54-7AAE-EE49-208B-409474648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253205" y="4782366"/>
                <a:ext cx="1121152" cy="263800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BE0181A1-2573-EDC0-E423-23F988F117A1}"/>
                  </a:ext>
                </a:extLst>
              </p:cNvPr>
              <p:cNvSpPr txBox="1"/>
              <p:nvPr/>
            </p:nvSpPr>
            <p:spPr>
              <a:xfrm>
                <a:off x="6564944" y="5346033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4" name="그림 103">
                <a:extLst>
                  <a:ext uri="{FF2B5EF4-FFF2-40B4-BE49-F238E27FC236}">
                    <a16:creationId xmlns:a16="http://schemas.microsoft.com/office/drawing/2014/main" id="{37EB095A-C0D0-0D71-D9FB-172169B07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250250" y="5094831"/>
                <a:ext cx="1124107" cy="276264"/>
              </a:xfrm>
              <a:prstGeom prst="rect">
                <a:avLst/>
              </a:prstGeom>
            </p:spPr>
          </p:pic>
        </p:grpSp>
        <p:sp>
          <p:nvSpPr>
            <p:cNvPr id="107" name="삼각형 1">
              <a:extLst>
                <a:ext uri="{FF2B5EF4-FFF2-40B4-BE49-F238E27FC236}">
                  <a16:creationId xmlns:a16="http://schemas.microsoft.com/office/drawing/2014/main" id="{2EFD6941-D282-1CFB-35D7-36A5735FB40B}"/>
                </a:ext>
              </a:extLst>
            </p:cNvPr>
            <p:cNvSpPr/>
            <p:nvPr/>
          </p:nvSpPr>
          <p:spPr>
            <a:xfrm rot="5400000">
              <a:off x="7099931" y="4256692"/>
              <a:ext cx="878168" cy="151289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8" name="삼각형 1">
              <a:extLst>
                <a:ext uri="{FF2B5EF4-FFF2-40B4-BE49-F238E27FC236}">
                  <a16:creationId xmlns:a16="http://schemas.microsoft.com/office/drawing/2014/main" id="{9DED56A0-2E62-CACF-E59B-CD1E1787D6E9}"/>
                </a:ext>
              </a:extLst>
            </p:cNvPr>
            <p:cNvSpPr/>
            <p:nvPr/>
          </p:nvSpPr>
          <p:spPr>
            <a:xfrm rot="5400000">
              <a:off x="8019097" y="423114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9" name="삼각형 1">
              <a:extLst>
                <a:ext uri="{FF2B5EF4-FFF2-40B4-BE49-F238E27FC236}">
                  <a16:creationId xmlns:a16="http://schemas.microsoft.com/office/drawing/2014/main" id="{922DEE5A-A846-70C6-43B1-DE9B0D6BCCAE}"/>
                </a:ext>
              </a:extLst>
            </p:cNvPr>
            <p:cNvSpPr/>
            <p:nvPr/>
          </p:nvSpPr>
          <p:spPr>
            <a:xfrm rot="5400000">
              <a:off x="8907464" y="425742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884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4661746" y="1771665"/>
            <a:ext cx="6988386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6791976" y="1419517"/>
            <a:ext cx="27279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통령 연설문 자료 수집 범위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16" name="그림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10479" y="3689501"/>
            <a:ext cx="5810123" cy="2241886"/>
          </a:xfrm>
          <a:prstGeom prst="roundRect">
            <a:avLst>
              <a:gd name="adj" fmla="val 3883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73" name="그룹 72"/>
          <p:cNvGrpSpPr/>
          <p:nvPr/>
        </p:nvGrpSpPr>
        <p:grpSpPr>
          <a:xfrm>
            <a:off x="4904241" y="1935989"/>
            <a:ext cx="6503397" cy="1595349"/>
            <a:chOff x="5005768" y="1935989"/>
            <a:chExt cx="6503397" cy="1595349"/>
          </a:xfrm>
        </p:grpSpPr>
        <p:grpSp>
          <p:nvGrpSpPr>
            <p:cNvPr id="46" name="그룹 45"/>
            <p:cNvGrpSpPr/>
            <p:nvPr/>
          </p:nvGrpSpPr>
          <p:grpSpPr>
            <a:xfrm>
              <a:off x="10612958" y="1935989"/>
              <a:ext cx="896207" cy="1595349"/>
              <a:chOff x="5207124" y="1893415"/>
              <a:chExt cx="896207" cy="1595349"/>
            </a:xfrm>
          </p:grpSpPr>
          <p:pic>
            <p:nvPicPr>
              <p:cNvPr id="91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40A5E03C-0DDA-C7D3-EFEC-EED8DF1EB6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607" t="48790" r="156" b="1"/>
              <a:stretch/>
            </p:blipFill>
            <p:spPr bwMode="auto">
              <a:xfrm>
                <a:off x="5241086" y="1893415"/>
                <a:ext cx="82828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44" name="직사각형 43"/>
              <p:cNvSpPr/>
              <p:nvPr/>
            </p:nvSpPr>
            <p:spPr>
              <a:xfrm>
                <a:off x="5207124" y="3150210"/>
                <a:ext cx="89620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⑤ </a:t>
                </a:r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문재인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5" name="그룹 64"/>
            <p:cNvGrpSpPr/>
            <p:nvPr/>
          </p:nvGrpSpPr>
          <p:grpSpPr>
            <a:xfrm>
              <a:off x="6437832" y="1935989"/>
              <a:ext cx="956863" cy="1595349"/>
              <a:chOff x="6044355" y="1935989"/>
              <a:chExt cx="956863" cy="1595349"/>
            </a:xfrm>
          </p:grpSpPr>
          <p:pic>
            <p:nvPicPr>
              <p:cNvPr id="92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699105F9-D27D-4077-05A9-A8F12AA40D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833" b="51377"/>
              <a:stretch/>
            </p:blipFill>
            <p:spPr bwMode="auto">
              <a:xfrm>
                <a:off x="6044355" y="1935989"/>
                <a:ext cx="95686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8" name="직사각형 97"/>
              <p:cNvSpPr/>
              <p:nvPr/>
            </p:nvSpPr>
            <p:spPr>
              <a:xfrm>
                <a:off x="6092380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② 노무현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8" name="그룹 67"/>
            <p:cNvGrpSpPr/>
            <p:nvPr/>
          </p:nvGrpSpPr>
          <p:grpSpPr>
            <a:xfrm>
              <a:off x="5005768" y="1935989"/>
              <a:ext cx="1002379" cy="1595349"/>
              <a:chOff x="5005768" y="1935989"/>
              <a:chExt cx="1002379" cy="1595349"/>
            </a:xfrm>
          </p:grpSpPr>
          <p:pic>
            <p:nvPicPr>
              <p:cNvPr id="94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0CFDD199-BCE5-0435-3578-EB43503415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235" r="34101" b="51491"/>
              <a:stretch/>
            </p:blipFill>
            <p:spPr bwMode="auto">
              <a:xfrm>
                <a:off x="5005768" y="1935989"/>
                <a:ext cx="1002379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9" name="직사각형 98"/>
              <p:cNvSpPr/>
              <p:nvPr/>
            </p:nvSpPr>
            <p:spPr>
              <a:xfrm>
                <a:off x="5076551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 smtClean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① 김대중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2" name="그룹 71"/>
            <p:cNvGrpSpPr/>
            <p:nvPr/>
          </p:nvGrpSpPr>
          <p:grpSpPr>
            <a:xfrm>
              <a:off x="9233975" y="1935989"/>
              <a:ext cx="949299" cy="1595349"/>
              <a:chOff x="9268904" y="1935989"/>
              <a:chExt cx="949299" cy="1595349"/>
            </a:xfrm>
          </p:grpSpPr>
          <p:pic>
            <p:nvPicPr>
              <p:cNvPr id="96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DABAFCA-50CC-CC3D-532E-4D14D6B8F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43" t="48804" r="30524"/>
              <a:stretch/>
            </p:blipFill>
            <p:spPr bwMode="auto">
              <a:xfrm>
                <a:off x="9280038" y="1935989"/>
                <a:ext cx="92703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2" name="직사각형 101"/>
              <p:cNvSpPr/>
              <p:nvPr/>
            </p:nvSpPr>
            <p:spPr>
              <a:xfrm>
                <a:off x="9268904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④ 박근혜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1" name="그룹 70"/>
            <p:cNvGrpSpPr/>
            <p:nvPr/>
          </p:nvGrpSpPr>
          <p:grpSpPr>
            <a:xfrm>
              <a:off x="7824380" y="1935989"/>
              <a:ext cx="979910" cy="1595349"/>
              <a:chOff x="7858471" y="1935989"/>
              <a:chExt cx="979910" cy="1595349"/>
            </a:xfrm>
          </p:grpSpPr>
          <p:pic>
            <p:nvPicPr>
              <p:cNvPr id="95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3553FC4-B0B1-31A5-33EE-E965216370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8999" r="64373"/>
              <a:stretch/>
            </p:blipFill>
            <p:spPr bwMode="auto">
              <a:xfrm>
                <a:off x="7858471" y="1935989"/>
                <a:ext cx="97991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3" name="직사각형 102"/>
              <p:cNvSpPr/>
              <p:nvPr/>
            </p:nvSpPr>
            <p:spPr>
              <a:xfrm>
                <a:off x="7873777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③ 이명박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2143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18</TotalTime>
  <Words>1564</Words>
  <Application>Microsoft Office PowerPoint</Application>
  <PresentationFormat>와이드스크린</PresentationFormat>
  <Paragraphs>478</Paragraphs>
  <Slides>2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4" baseType="lpstr">
      <vt:lpstr>Noto Sans KR</vt:lpstr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Solero</cp:lastModifiedBy>
  <cp:revision>6181</cp:revision>
  <dcterms:created xsi:type="dcterms:W3CDTF">2023-11-03T22:38:30Z</dcterms:created>
  <dcterms:modified xsi:type="dcterms:W3CDTF">2024-04-15T08:13:55Z</dcterms:modified>
</cp:coreProperties>
</file>